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49" r:id="rId2"/>
    <p:sldMasterId id="2147483650" r:id="rId3"/>
  </p:sldMasterIdLst>
  <p:notesMasterIdLst>
    <p:notesMasterId r:id="rId20"/>
  </p:notesMasterIdLst>
  <p:sldIdLst>
    <p:sldId id="257" r:id="rId4"/>
    <p:sldId id="258" r:id="rId5"/>
    <p:sldId id="259" r:id="rId6"/>
    <p:sldId id="263" r:id="rId7"/>
    <p:sldId id="264" r:id="rId8"/>
    <p:sldId id="260" r:id="rId9"/>
    <p:sldId id="261" r:id="rId10"/>
    <p:sldId id="262" r:id="rId11"/>
    <p:sldId id="265" r:id="rId12"/>
    <p:sldId id="272" r:id="rId13"/>
    <p:sldId id="271" r:id="rId14"/>
    <p:sldId id="266" r:id="rId15"/>
    <p:sldId id="267" r:id="rId16"/>
    <p:sldId id="268" r:id="rId17"/>
    <p:sldId id="269" r:id="rId18"/>
    <p:sldId id="270" r:id="rId19"/>
  </p:sldIdLst>
  <p:sldSz cx="20104100" cy="11576050"/>
  <p:notesSz cx="20104100" cy="115760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F9999"/>
    <a:srgbClr val="F57F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5878" autoAdjust="0"/>
  </p:normalViewPr>
  <p:slideViewPr>
    <p:cSldViewPr>
      <p:cViewPr varScale="1">
        <p:scale>
          <a:sx n="64" d="100"/>
          <a:sy n="64" d="100"/>
        </p:scale>
        <p:origin x="690" y="6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848448"/>
        <c:axId val="61456384"/>
      </c:barChart>
      <c:catAx>
        <c:axId val="63848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456384"/>
        <c:crosses val="autoZero"/>
        <c:auto val="1"/>
        <c:lblAlgn val="ctr"/>
        <c:lblOffset val="100"/>
        <c:noMultiLvlLbl val="0"/>
      </c:catAx>
      <c:valAx>
        <c:axId val="61456384"/>
        <c:scaling>
          <c:orientation val="minMax"/>
          <c:max val="18"/>
          <c:min val="0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384844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05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81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1048906" name="Дата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81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689317-35D0-4D4F-8ECD-6061D982CE11}" type="datetimeFigureOut">
              <a:rPr lang="ru-RU" smtClean="0"/>
              <a:t>06.06.2022</a:t>
            </a:fld>
            <a:endParaRPr lang="ru-RU"/>
          </a:p>
        </p:txBody>
      </p:sp>
      <p:sp>
        <p:nvSpPr>
          <p:cNvPr id="1048907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47800"/>
            <a:ext cx="6784975" cy="39068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1048908" name="Заметки 4"/>
          <p:cNvSpPr>
            <a:spLocks noGrp="1"/>
          </p:cNvSpPr>
          <p:nvPr>
            <p:ph type="body" sz="quarter" idx="3"/>
          </p:nvPr>
        </p:nvSpPr>
        <p:spPr>
          <a:xfrm>
            <a:off x="2009775" y="5570538"/>
            <a:ext cx="16084550" cy="45593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48909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10995025"/>
            <a:ext cx="8712200" cy="581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1048910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11387138" y="10995025"/>
            <a:ext cx="8712200" cy="581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DDE8F7-A6C0-694E-A085-8C0412D66113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09" name="Holder 2"/>
          <p:cNvSpPr>
            <a:spLocks noGrp="1"/>
          </p:cNvSpPr>
          <p:nvPr>
            <p:ph type="ctrTitle"/>
          </p:nvPr>
        </p:nvSpPr>
        <p:spPr>
          <a:xfrm>
            <a:off x="1507807" y="3588575"/>
            <a:ext cx="17088486" cy="2430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/>
          </a:p>
        </p:txBody>
      </p:sp>
      <p:sp>
        <p:nvSpPr>
          <p:cNvPr id="1048810" name="Holder 3"/>
          <p:cNvSpPr>
            <a:spLocks noGrp="1"/>
          </p:cNvSpPr>
          <p:nvPr>
            <p:ph type="subTitle" idx="4"/>
          </p:nvPr>
        </p:nvSpPr>
        <p:spPr>
          <a:xfrm>
            <a:off x="3015615" y="6482588"/>
            <a:ext cx="14072870" cy="28940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/>
          </a:p>
        </p:txBody>
      </p:sp>
      <p:sp>
        <p:nvSpPr>
          <p:cNvPr id="1048811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1048812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2</a:t>
            </a:fld>
            <a:endParaRPr lang="en-US"/>
          </a:p>
        </p:txBody>
      </p:sp>
      <p:sp>
        <p:nvSpPr>
          <p:cNvPr id="1048813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700" b="0" i="0">
                <a:solidFill>
                  <a:srgbClr val="001F5F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267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98" name="Рисунок 2"/>
          <p:cNvSpPr>
            <a:spLocks noGrp="1"/>
          </p:cNvSpPr>
          <p:nvPr>
            <p:ph type="pic" sz="quarter" idx="11"/>
          </p:nvPr>
        </p:nvSpPr>
        <p:spPr>
          <a:xfrm>
            <a:off x="7963109" y="-1"/>
            <a:ext cx="12140992" cy="11576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599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60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601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602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8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74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2" y="295265"/>
            <a:ext cx="15812099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75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48751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752" name="Рисунок 2"/>
          <p:cNvSpPr>
            <a:spLocks noGrp="1"/>
          </p:cNvSpPr>
          <p:nvPr>
            <p:ph type="pic" sz="quarter" idx="11"/>
          </p:nvPr>
        </p:nvSpPr>
        <p:spPr>
          <a:xfrm>
            <a:off x="5186228" y="2082081"/>
            <a:ext cx="3844909" cy="26056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753" name="Рисунок 2"/>
          <p:cNvSpPr>
            <a:spLocks noGrp="1"/>
          </p:cNvSpPr>
          <p:nvPr>
            <p:ph type="pic" sz="quarter" idx="12"/>
          </p:nvPr>
        </p:nvSpPr>
        <p:spPr>
          <a:xfrm>
            <a:off x="5186228" y="5003881"/>
            <a:ext cx="3844909" cy="26056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754" name="Рисунок 2"/>
          <p:cNvSpPr>
            <a:spLocks noGrp="1"/>
          </p:cNvSpPr>
          <p:nvPr>
            <p:ph type="pic" sz="quarter" idx="13"/>
          </p:nvPr>
        </p:nvSpPr>
        <p:spPr>
          <a:xfrm>
            <a:off x="5186228" y="7922673"/>
            <a:ext cx="3844909" cy="26056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58"/>
            </a:lvl1pPr>
          </a:lstStyle>
          <a:p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8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1211" y="2082082"/>
            <a:ext cx="4486774" cy="84462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784" name="Рисунок 2"/>
          <p:cNvSpPr>
            <a:spLocks noGrp="1"/>
          </p:cNvSpPr>
          <p:nvPr>
            <p:ph type="pic" sz="quarter" idx="16"/>
          </p:nvPr>
        </p:nvSpPr>
        <p:spPr>
          <a:xfrm>
            <a:off x="14766568" y="2082082"/>
            <a:ext cx="4486774" cy="84462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785" name="Рисунок 2"/>
          <p:cNvSpPr>
            <a:spLocks noGrp="1"/>
          </p:cNvSpPr>
          <p:nvPr>
            <p:ph type="pic" sz="quarter" idx="17"/>
          </p:nvPr>
        </p:nvSpPr>
        <p:spPr>
          <a:xfrm>
            <a:off x="5489664" y="2082082"/>
            <a:ext cx="4486774" cy="84462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786" name="Рисунок 2"/>
          <p:cNvSpPr>
            <a:spLocks noGrp="1"/>
          </p:cNvSpPr>
          <p:nvPr>
            <p:ph type="pic" sz="quarter" idx="18"/>
          </p:nvPr>
        </p:nvSpPr>
        <p:spPr>
          <a:xfrm>
            <a:off x="10128116" y="2082082"/>
            <a:ext cx="4486774" cy="84462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787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788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789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79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2" y="295265"/>
            <a:ext cx="15812099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0" name="Рисунок 25"/>
          <p:cNvSpPr>
            <a:spLocks noGrp="1"/>
          </p:cNvSpPr>
          <p:nvPr>
            <p:ph type="pic" sz="quarter" idx="14"/>
          </p:nvPr>
        </p:nvSpPr>
        <p:spPr>
          <a:xfrm>
            <a:off x="15076096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741" name="Рисунок 22"/>
          <p:cNvSpPr>
            <a:spLocks noGrp="1"/>
          </p:cNvSpPr>
          <p:nvPr>
            <p:ph type="pic" sz="quarter" idx="13"/>
          </p:nvPr>
        </p:nvSpPr>
        <p:spPr>
          <a:xfrm>
            <a:off x="10058646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742" name="Рисунок 19"/>
          <p:cNvSpPr>
            <a:spLocks noGrp="1"/>
          </p:cNvSpPr>
          <p:nvPr>
            <p:ph type="pic" sz="quarter" idx="12"/>
          </p:nvPr>
        </p:nvSpPr>
        <p:spPr>
          <a:xfrm>
            <a:off x="5029323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743" name="Рисунок 1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025339" cy="11576050"/>
          </a:xfrm>
          <a:custGeom>
            <a:avLst/>
            <a:gdLst>
              <a:gd name="connsiteX0" fmla="*/ 0 w 3047584"/>
              <a:gd name="connsiteY0" fmla="*/ 0 h 6858000"/>
              <a:gd name="connsiteX1" fmla="*/ 3047584 w 3047584"/>
              <a:gd name="connsiteY1" fmla="*/ 0 h 6858000"/>
              <a:gd name="connsiteX2" fmla="*/ 3047584 w 3047584"/>
              <a:gd name="connsiteY2" fmla="*/ 6858000 h 6858000"/>
              <a:gd name="connsiteX3" fmla="*/ 0 w 3047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7584" h="6858000">
                <a:moveTo>
                  <a:pt x="0" y="0"/>
                </a:moveTo>
                <a:lnTo>
                  <a:pt x="3047584" y="0"/>
                </a:lnTo>
                <a:lnTo>
                  <a:pt x="3047584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744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745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746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74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2" y="295265"/>
            <a:ext cx="15812099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91" name="Рисунок 33"/>
          <p:cNvSpPr>
            <a:spLocks noGrp="1"/>
          </p:cNvSpPr>
          <p:nvPr>
            <p:ph type="pic" sz="quarter" idx="16"/>
          </p:nvPr>
        </p:nvSpPr>
        <p:spPr>
          <a:xfrm>
            <a:off x="13690764" y="7458139"/>
            <a:ext cx="1629446" cy="1667989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792" name="Рисунок 30"/>
          <p:cNvSpPr>
            <a:spLocks noGrp="1"/>
          </p:cNvSpPr>
          <p:nvPr>
            <p:ph type="pic" sz="quarter" idx="15"/>
          </p:nvPr>
        </p:nvSpPr>
        <p:spPr>
          <a:xfrm>
            <a:off x="7457433" y="7458139"/>
            <a:ext cx="1629446" cy="1667989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793" name="Рисунок 27"/>
          <p:cNvSpPr>
            <a:spLocks noGrp="1"/>
          </p:cNvSpPr>
          <p:nvPr>
            <p:ph type="pic" sz="quarter" idx="14"/>
          </p:nvPr>
        </p:nvSpPr>
        <p:spPr>
          <a:xfrm>
            <a:off x="1224099" y="7458140"/>
            <a:ext cx="1629446" cy="1667989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794" name="Рисунок 24"/>
          <p:cNvSpPr>
            <a:spLocks noGrp="1"/>
          </p:cNvSpPr>
          <p:nvPr>
            <p:ph type="pic" sz="quarter" idx="13"/>
          </p:nvPr>
        </p:nvSpPr>
        <p:spPr>
          <a:xfrm>
            <a:off x="13690763" y="3417461"/>
            <a:ext cx="1629446" cy="1667989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795" name="Рисунок 21"/>
          <p:cNvSpPr>
            <a:spLocks noGrp="1"/>
          </p:cNvSpPr>
          <p:nvPr>
            <p:ph type="pic" sz="quarter" idx="12"/>
          </p:nvPr>
        </p:nvSpPr>
        <p:spPr>
          <a:xfrm>
            <a:off x="7457431" y="3417459"/>
            <a:ext cx="1629446" cy="1667989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796" name="Рисунок 19"/>
          <p:cNvSpPr>
            <a:spLocks noGrp="1"/>
          </p:cNvSpPr>
          <p:nvPr>
            <p:ph type="pic" sz="quarter" idx="11"/>
          </p:nvPr>
        </p:nvSpPr>
        <p:spPr>
          <a:xfrm>
            <a:off x="1224100" y="3417461"/>
            <a:ext cx="1629446" cy="1667989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797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79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79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00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63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76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765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766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767" name="Рисунок 22"/>
          <p:cNvSpPr>
            <a:spLocks noGrp="1"/>
          </p:cNvSpPr>
          <p:nvPr>
            <p:ph type="pic" sz="quarter" idx="11"/>
          </p:nvPr>
        </p:nvSpPr>
        <p:spPr>
          <a:xfrm>
            <a:off x="863327" y="2264298"/>
            <a:ext cx="4487225" cy="541448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768" name="Рисунок 23"/>
          <p:cNvSpPr>
            <a:spLocks noGrp="1"/>
          </p:cNvSpPr>
          <p:nvPr>
            <p:ph type="pic" sz="quarter" idx="12"/>
          </p:nvPr>
        </p:nvSpPr>
        <p:spPr>
          <a:xfrm>
            <a:off x="5501779" y="2264298"/>
            <a:ext cx="4487225" cy="541448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769" name="Рисунок 24"/>
          <p:cNvSpPr>
            <a:spLocks noGrp="1"/>
          </p:cNvSpPr>
          <p:nvPr>
            <p:ph type="pic" sz="quarter" idx="13"/>
          </p:nvPr>
        </p:nvSpPr>
        <p:spPr>
          <a:xfrm>
            <a:off x="10140231" y="2264298"/>
            <a:ext cx="4487225" cy="541448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770" name="Рисунок 25"/>
          <p:cNvSpPr>
            <a:spLocks noGrp="1"/>
          </p:cNvSpPr>
          <p:nvPr>
            <p:ph type="pic" sz="quarter" idx="14"/>
          </p:nvPr>
        </p:nvSpPr>
        <p:spPr>
          <a:xfrm>
            <a:off x="14778683" y="2264298"/>
            <a:ext cx="4487225" cy="541448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01" name="Рисунок 25"/>
          <p:cNvSpPr>
            <a:spLocks noGrp="1"/>
          </p:cNvSpPr>
          <p:nvPr>
            <p:ph type="pic" sz="quarter" idx="14"/>
          </p:nvPr>
        </p:nvSpPr>
        <p:spPr>
          <a:xfrm>
            <a:off x="15592604" y="2764570"/>
            <a:ext cx="2828419" cy="2895322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02" name="Рисунок 22"/>
          <p:cNvSpPr>
            <a:spLocks noGrp="1"/>
          </p:cNvSpPr>
          <p:nvPr>
            <p:ph type="pic" sz="quarter" idx="13"/>
          </p:nvPr>
        </p:nvSpPr>
        <p:spPr>
          <a:xfrm>
            <a:off x="10956096" y="2764570"/>
            <a:ext cx="2828419" cy="2895322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03" name="Рисунок 19"/>
          <p:cNvSpPr>
            <a:spLocks noGrp="1"/>
          </p:cNvSpPr>
          <p:nvPr>
            <p:ph type="pic" sz="quarter" idx="12"/>
          </p:nvPr>
        </p:nvSpPr>
        <p:spPr>
          <a:xfrm>
            <a:off x="6319588" y="2764570"/>
            <a:ext cx="2828419" cy="2895322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04" name="Рисунок 16"/>
          <p:cNvSpPr>
            <a:spLocks noGrp="1"/>
          </p:cNvSpPr>
          <p:nvPr>
            <p:ph type="pic" sz="quarter" idx="11"/>
          </p:nvPr>
        </p:nvSpPr>
        <p:spPr>
          <a:xfrm>
            <a:off x="1683080" y="2764570"/>
            <a:ext cx="2828419" cy="2895322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05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0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80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08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76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77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778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779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780" name="Рисунок 22"/>
          <p:cNvSpPr>
            <a:spLocks noGrp="1"/>
          </p:cNvSpPr>
          <p:nvPr>
            <p:ph type="pic" sz="quarter" idx="11"/>
          </p:nvPr>
        </p:nvSpPr>
        <p:spPr>
          <a:xfrm>
            <a:off x="14802268" y="3002961"/>
            <a:ext cx="4451073" cy="2385485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781" name="Рисунок 23"/>
          <p:cNvSpPr>
            <a:spLocks noGrp="1"/>
          </p:cNvSpPr>
          <p:nvPr>
            <p:ph type="pic" sz="quarter" idx="12"/>
          </p:nvPr>
        </p:nvSpPr>
        <p:spPr>
          <a:xfrm>
            <a:off x="14802268" y="5582273"/>
            <a:ext cx="4451073" cy="2385485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782" name="Рисунок 24"/>
          <p:cNvSpPr>
            <a:spLocks noGrp="1"/>
          </p:cNvSpPr>
          <p:nvPr>
            <p:ph type="pic" sz="quarter" idx="13"/>
          </p:nvPr>
        </p:nvSpPr>
        <p:spPr>
          <a:xfrm>
            <a:off x="14802268" y="8161584"/>
            <a:ext cx="4451073" cy="2385485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37" name="Полилиния: фигура 4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738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739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26966"/>
            <a:ext cx="10052050" cy="532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я</a:t>
            </a:r>
            <a:endParaRPr kumimoji="0" lang="en-US" sz="1731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14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1048815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1048816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1048817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2</a:t>
            </a:fld>
            <a:endParaRPr lang="en-US"/>
          </a:p>
        </p:txBody>
      </p:sp>
      <p:sp>
        <p:nvSpPr>
          <p:cNvPr id="1048818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700" b="0" i="0">
                <a:solidFill>
                  <a:srgbClr val="001F5F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267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5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636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63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67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2771775" y="13154"/>
            <a:ext cx="17332325" cy="11576050"/>
          </a:xfrm>
          <a:prstGeom prst="rect">
            <a:avLst/>
          </a:prstGeom>
          <a:noFill/>
        </p:spPr>
      </p:pic>
      <p:sp>
        <p:nvSpPr>
          <p:cNvPr id="1048652" name="Прямоугольник 13"/>
          <p:cNvSpPr/>
          <p:nvPr userDrawn="1"/>
        </p:nvSpPr>
        <p:spPr>
          <a:xfrm>
            <a:off x="0" y="0"/>
            <a:ext cx="18790421" cy="11655425"/>
          </a:xfrm>
          <a:prstGeom prst="rect">
            <a:avLst/>
          </a:prstGeom>
          <a:gradFill>
            <a:gsLst>
              <a:gs pos="46000">
                <a:schemeClr val="bg1"/>
              </a:gs>
              <a:gs pos="70000">
                <a:srgbClr val="FFFFFF">
                  <a:alpha val="47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 dirty="0"/>
          </a:p>
        </p:txBody>
      </p:sp>
      <p:sp>
        <p:nvSpPr>
          <p:cNvPr id="1048653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65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655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65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657" name="Прямоугольник 8"/>
          <p:cNvSpPr/>
          <p:nvPr userDrawn="1"/>
        </p:nvSpPr>
        <p:spPr>
          <a:xfrm rot="5400000">
            <a:off x="11428413" y="-2894009"/>
            <a:ext cx="5788024" cy="11576050"/>
          </a:xfrm>
          <a:prstGeom prst="rect">
            <a:avLst/>
          </a:prstGeom>
          <a:gradFill>
            <a:gsLst>
              <a:gs pos="28000">
                <a:schemeClr val="bg1"/>
              </a:gs>
              <a:gs pos="70000">
                <a:srgbClr val="FFFFFF">
                  <a:alpha val="47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79" name="Рисунок 11" descr="Изображение выглядит как мужчина, здание, снег, держит  Автоматически созданное описание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7963109" y="-1"/>
            <a:ext cx="12140992" cy="11576048"/>
          </a:xfrm>
          <a:prstGeom prst="rect">
            <a:avLst/>
          </a:prstGeom>
        </p:spPr>
      </p:pic>
      <p:sp>
        <p:nvSpPr>
          <p:cNvPr id="1048836" name="Прямоугольник 13"/>
          <p:cNvSpPr/>
          <p:nvPr userDrawn="1"/>
        </p:nvSpPr>
        <p:spPr>
          <a:xfrm>
            <a:off x="0" y="0"/>
            <a:ext cx="16653562" cy="11576050"/>
          </a:xfrm>
          <a:prstGeom prst="rect">
            <a:avLst/>
          </a:prstGeom>
          <a:gradFill>
            <a:gsLst>
              <a:gs pos="55000">
                <a:schemeClr val="bg1"/>
              </a:gs>
              <a:gs pos="78000">
                <a:srgbClr val="FFFFFF">
                  <a:alpha val="47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/>
          </a:p>
        </p:txBody>
      </p:sp>
      <p:sp>
        <p:nvSpPr>
          <p:cNvPr id="1048837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38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39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84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80" name="Рисунок 11" descr="Изображение выглядит как клавиатура, внутренний, компьютер, сидит  Автоматически созданное описание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>
          <a:xfrm>
            <a:off x="15076096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2097181" name="Рисунок 13"/>
          <p:cNvPicPr>
            <a:picLocks noChangeAspect="1"/>
          </p:cNvPicPr>
          <p:nvPr userDrawn="1"/>
        </p:nvPicPr>
        <p:blipFill rotWithShape="1">
          <a:blip r:embed="rId3"/>
          <a:srcRect/>
          <a:stretch>
            <a:fillRect/>
          </a:stretch>
        </p:blipFill>
        <p:spPr>
          <a:xfrm>
            <a:off x="10059904" y="0"/>
            <a:ext cx="5026025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2097182" name="Рисунок 14"/>
          <p:cNvPicPr>
            <a:picLocks noChangeAspect="1"/>
          </p:cNvPicPr>
          <p:nvPr userDrawn="1"/>
        </p:nvPicPr>
        <p:blipFill rotWithShape="1">
          <a:blip r:embed="rId4" cstate="screen"/>
          <a:srcRect/>
          <a:stretch>
            <a:fillRect/>
          </a:stretch>
        </p:blipFill>
        <p:spPr>
          <a:xfrm>
            <a:off x="5029323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2097183" name="Рисунок 15"/>
          <p:cNvPicPr>
            <a:picLocks noChangeAspect="1"/>
          </p:cNvPicPr>
          <p:nvPr userDrawn="1"/>
        </p:nvPicPr>
        <p:blipFill rotWithShape="1">
          <a:blip r:embed="rId5"/>
          <a:srcRect/>
          <a:stretch>
            <a:fillRect/>
          </a:stretch>
        </p:blipFill>
        <p:spPr>
          <a:xfrm>
            <a:off x="0" y="0"/>
            <a:ext cx="5025339" cy="11576050"/>
          </a:xfrm>
          <a:custGeom>
            <a:avLst/>
            <a:gdLst>
              <a:gd name="connsiteX0" fmla="*/ 0 w 3047584"/>
              <a:gd name="connsiteY0" fmla="*/ 0 h 6858000"/>
              <a:gd name="connsiteX1" fmla="*/ 3047584 w 3047584"/>
              <a:gd name="connsiteY1" fmla="*/ 0 h 6858000"/>
              <a:gd name="connsiteX2" fmla="*/ 3047584 w 3047584"/>
              <a:gd name="connsiteY2" fmla="*/ 6858000 h 6858000"/>
              <a:gd name="connsiteX3" fmla="*/ 0 w 3047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7584" h="6858000">
                <a:moveTo>
                  <a:pt x="0" y="0"/>
                </a:moveTo>
                <a:lnTo>
                  <a:pt x="3047584" y="0"/>
                </a:lnTo>
                <a:lnTo>
                  <a:pt x="3047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48881" name="Прямоугольник 16"/>
          <p:cNvSpPr/>
          <p:nvPr userDrawn="1"/>
        </p:nvSpPr>
        <p:spPr>
          <a:xfrm>
            <a:off x="10058646" y="0"/>
            <a:ext cx="5028004" cy="1157605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 dirty="0"/>
          </a:p>
        </p:txBody>
      </p:sp>
      <p:sp>
        <p:nvSpPr>
          <p:cNvPr id="1048882" name="Прямоугольник 24"/>
          <p:cNvSpPr/>
          <p:nvPr userDrawn="1"/>
        </p:nvSpPr>
        <p:spPr>
          <a:xfrm>
            <a:off x="5012174" y="0"/>
            <a:ext cx="5039876" cy="1157605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/>
          </a:p>
        </p:txBody>
      </p:sp>
      <p:sp>
        <p:nvSpPr>
          <p:cNvPr id="1048883" name="Прямоугольник 25"/>
          <p:cNvSpPr/>
          <p:nvPr userDrawn="1"/>
        </p:nvSpPr>
        <p:spPr>
          <a:xfrm>
            <a:off x="0" y="0"/>
            <a:ext cx="5025339" cy="1157605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/>
          </a:p>
        </p:txBody>
      </p:sp>
      <p:sp>
        <p:nvSpPr>
          <p:cNvPr id="1048884" name="Прямоугольник 26"/>
          <p:cNvSpPr/>
          <p:nvPr userDrawn="1"/>
        </p:nvSpPr>
        <p:spPr>
          <a:xfrm>
            <a:off x="15076096" y="0"/>
            <a:ext cx="5028004" cy="1157605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 dirty="0"/>
          </a:p>
        </p:txBody>
      </p:sp>
      <p:sp>
        <p:nvSpPr>
          <p:cNvPr id="1048885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86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87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88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28" name="Рисунок 2"/>
          <p:cNvSpPr>
            <a:spLocks noGrp="1"/>
          </p:cNvSpPr>
          <p:nvPr>
            <p:ph type="pic" sz="quarter" idx="11"/>
          </p:nvPr>
        </p:nvSpPr>
        <p:spPr>
          <a:xfrm>
            <a:off x="7963109" y="-1"/>
            <a:ext cx="12140992" cy="11576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29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3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831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32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74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7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2" y="295265"/>
            <a:ext cx="15812099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876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48877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878" name="Рисунок 2"/>
          <p:cNvSpPr>
            <a:spLocks noGrp="1"/>
          </p:cNvSpPr>
          <p:nvPr>
            <p:ph type="pic" sz="quarter" idx="11"/>
          </p:nvPr>
        </p:nvSpPr>
        <p:spPr>
          <a:xfrm>
            <a:off x="5186228" y="2082081"/>
            <a:ext cx="3844909" cy="26056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879" name="Рисунок 2"/>
          <p:cNvSpPr>
            <a:spLocks noGrp="1"/>
          </p:cNvSpPr>
          <p:nvPr>
            <p:ph type="pic" sz="quarter" idx="12"/>
          </p:nvPr>
        </p:nvSpPr>
        <p:spPr>
          <a:xfrm>
            <a:off x="5186228" y="5003881"/>
            <a:ext cx="3844909" cy="26056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880" name="Рисунок 2"/>
          <p:cNvSpPr>
            <a:spLocks noGrp="1"/>
          </p:cNvSpPr>
          <p:nvPr>
            <p:ph type="pic" sz="quarter" idx="13"/>
          </p:nvPr>
        </p:nvSpPr>
        <p:spPr>
          <a:xfrm>
            <a:off x="5186228" y="7922673"/>
            <a:ext cx="3844909" cy="26056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58"/>
            </a:lvl1pPr>
          </a:lstStyle>
          <a:p>
            <a:endParaRPr lang="ru-RU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41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1211" y="2082082"/>
            <a:ext cx="4486774" cy="84462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842" name="Рисунок 2"/>
          <p:cNvSpPr>
            <a:spLocks noGrp="1"/>
          </p:cNvSpPr>
          <p:nvPr>
            <p:ph type="pic" sz="quarter" idx="16"/>
          </p:nvPr>
        </p:nvSpPr>
        <p:spPr>
          <a:xfrm>
            <a:off x="14766568" y="2082082"/>
            <a:ext cx="4486774" cy="84462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843" name="Рисунок 2"/>
          <p:cNvSpPr>
            <a:spLocks noGrp="1"/>
          </p:cNvSpPr>
          <p:nvPr>
            <p:ph type="pic" sz="quarter" idx="17"/>
          </p:nvPr>
        </p:nvSpPr>
        <p:spPr>
          <a:xfrm>
            <a:off x="5489664" y="2082082"/>
            <a:ext cx="4486774" cy="84462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844" name="Рисунок 2"/>
          <p:cNvSpPr>
            <a:spLocks noGrp="1"/>
          </p:cNvSpPr>
          <p:nvPr>
            <p:ph type="pic" sz="quarter" idx="18"/>
          </p:nvPr>
        </p:nvSpPr>
        <p:spPr>
          <a:xfrm>
            <a:off x="10128116" y="2082082"/>
            <a:ext cx="4486774" cy="84462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958"/>
            </a:lvl1pPr>
          </a:lstStyle>
          <a:p>
            <a:endParaRPr lang="ru-RU" dirty="0"/>
          </a:p>
        </p:txBody>
      </p:sp>
      <p:sp>
        <p:nvSpPr>
          <p:cNvPr id="1048845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46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47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84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2" y="295265"/>
            <a:ext cx="15812099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89" name="Рисунок 25"/>
          <p:cNvSpPr>
            <a:spLocks noGrp="1"/>
          </p:cNvSpPr>
          <p:nvPr>
            <p:ph type="pic" sz="quarter" idx="14"/>
          </p:nvPr>
        </p:nvSpPr>
        <p:spPr>
          <a:xfrm>
            <a:off x="15076096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90" name="Рисунок 22"/>
          <p:cNvSpPr>
            <a:spLocks noGrp="1"/>
          </p:cNvSpPr>
          <p:nvPr>
            <p:ph type="pic" sz="quarter" idx="13"/>
          </p:nvPr>
        </p:nvSpPr>
        <p:spPr>
          <a:xfrm>
            <a:off x="10058646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91" name="Рисунок 19"/>
          <p:cNvSpPr>
            <a:spLocks noGrp="1"/>
          </p:cNvSpPr>
          <p:nvPr>
            <p:ph type="pic" sz="quarter" idx="12"/>
          </p:nvPr>
        </p:nvSpPr>
        <p:spPr>
          <a:xfrm>
            <a:off x="5029323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92" name="Рисунок 1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025339" cy="11576050"/>
          </a:xfrm>
          <a:custGeom>
            <a:avLst/>
            <a:gdLst>
              <a:gd name="connsiteX0" fmla="*/ 0 w 3047584"/>
              <a:gd name="connsiteY0" fmla="*/ 0 h 6858000"/>
              <a:gd name="connsiteX1" fmla="*/ 3047584 w 3047584"/>
              <a:gd name="connsiteY1" fmla="*/ 0 h 6858000"/>
              <a:gd name="connsiteX2" fmla="*/ 3047584 w 3047584"/>
              <a:gd name="connsiteY2" fmla="*/ 6858000 h 6858000"/>
              <a:gd name="connsiteX3" fmla="*/ 0 w 3047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7584" h="6858000">
                <a:moveTo>
                  <a:pt x="0" y="0"/>
                </a:moveTo>
                <a:lnTo>
                  <a:pt x="3047584" y="0"/>
                </a:lnTo>
                <a:lnTo>
                  <a:pt x="3047584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93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9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95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89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2" y="295265"/>
            <a:ext cx="15812099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49" name="Рисунок 33"/>
          <p:cNvSpPr>
            <a:spLocks noGrp="1"/>
          </p:cNvSpPr>
          <p:nvPr>
            <p:ph type="pic" sz="quarter" idx="16"/>
          </p:nvPr>
        </p:nvSpPr>
        <p:spPr>
          <a:xfrm>
            <a:off x="13690764" y="7458139"/>
            <a:ext cx="1629446" cy="1667989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850" name="Рисунок 30"/>
          <p:cNvSpPr>
            <a:spLocks noGrp="1"/>
          </p:cNvSpPr>
          <p:nvPr>
            <p:ph type="pic" sz="quarter" idx="15"/>
          </p:nvPr>
        </p:nvSpPr>
        <p:spPr>
          <a:xfrm>
            <a:off x="7457433" y="7458139"/>
            <a:ext cx="1629446" cy="1667989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851" name="Рисунок 27"/>
          <p:cNvSpPr>
            <a:spLocks noGrp="1"/>
          </p:cNvSpPr>
          <p:nvPr>
            <p:ph type="pic" sz="quarter" idx="14"/>
          </p:nvPr>
        </p:nvSpPr>
        <p:spPr>
          <a:xfrm>
            <a:off x="1224099" y="7458140"/>
            <a:ext cx="1629446" cy="1667989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852" name="Рисунок 24"/>
          <p:cNvSpPr>
            <a:spLocks noGrp="1"/>
          </p:cNvSpPr>
          <p:nvPr>
            <p:ph type="pic" sz="quarter" idx="13"/>
          </p:nvPr>
        </p:nvSpPr>
        <p:spPr>
          <a:xfrm>
            <a:off x="13690763" y="3417461"/>
            <a:ext cx="1629446" cy="1667989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853" name="Рисунок 21"/>
          <p:cNvSpPr>
            <a:spLocks noGrp="1"/>
          </p:cNvSpPr>
          <p:nvPr>
            <p:ph type="pic" sz="quarter" idx="12"/>
          </p:nvPr>
        </p:nvSpPr>
        <p:spPr>
          <a:xfrm>
            <a:off x="7457431" y="3417459"/>
            <a:ext cx="1629446" cy="1667989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854" name="Рисунок 19"/>
          <p:cNvSpPr>
            <a:spLocks noGrp="1"/>
          </p:cNvSpPr>
          <p:nvPr>
            <p:ph type="pic" sz="quarter" idx="11"/>
          </p:nvPr>
        </p:nvSpPr>
        <p:spPr>
          <a:xfrm>
            <a:off x="1224100" y="3417461"/>
            <a:ext cx="1629446" cy="1667989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638"/>
            </a:lvl1pPr>
          </a:lstStyle>
          <a:p>
            <a:endParaRPr lang="ru-RU"/>
          </a:p>
        </p:txBody>
      </p:sp>
      <p:sp>
        <p:nvSpPr>
          <p:cNvPr id="1048855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5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85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58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97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9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89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900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901" name="Рисунок 22"/>
          <p:cNvSpPr>
            <a:spLocks noGrp="1"/>
          </p:cNvSpPr>
          <p:nvPr>
            <p:ph type="pic" sz="quarter" idx="11"/>
          </p:nvPr>
        </p:nvSpPr>
        <p:spPr>
          <a:xfrm>
            <a:off x="863327" y="2264298"/>
            <a:ext cx="4487225" cy="541448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902" name="Рисунок 23"/>
          <p:cNvSpPr>
            <a:spLocks noGrp="1"/>
          </p:cNvSpPr>
          <p:nvPr>
            <p:ph type="pic" sz="quarter" idx="12"/>
          </p:nvPr>
        </p:nvSpPr>
        <p:spPr>
          <a:xfrm>
            <a:off x="5501779" y="2264298"/>
            <a:ext cx="4487225" cy="541448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903" name="Рисунок 24"/>
          <p:cNvSpPr>
            <a:spLocks noGrp="1"/>
          </p:cNvSpPr>
          <p:nvPr>
            <p:ph type="pic" sz="quarter" idx="13"/>
          </p:nvPr>
        </p:nvSpPr>
        <p:spPr>
          <a:xfrm>
            <a:off x="10140231" y="2264298"/>
            <a:ext cx="4487225" cy="541448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904" name="Рисунок 25"/>
          <p:cNvSpPr>
            <a:spLocks noGrp="1"/>
          </p:cNvSpPr>
          <p:nvPr>
            <p:ph type="pic" sz="quarter" idx="14"/>
          </p:nvPr>
        </p:nvSpPr>
        <p:spPr>
          <a:xfrm>
            <a:off x="14778683" y="2264298"/>
            <a:ext cx="4487225" cy="541448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19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1048820" name="Holder 3"/>
          <p:cNvSpPr>
            <a:spLocks noGrp="1"/>
          </p:cNvSpPr>
          <p:nvPr>
            <p:ph sz="half" idx="2"/>
          </p:nvPr>
        </p:nvSpPr>
        <p:spPr>
          <a:xfrm>
            <a:off x="1005205" y="2662491"/>
            <a:ext cx="8745284" cy="76401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/>
          </a:p>
        </p:txBody>
      </p:sp>
      <p:sp>
        <p:nvSpPr>
          <p:cNvPr id="1048821" name="Holder 4"/>
          <p:cNvSpPr>
            <a:spLocks noGrp="1"/>
          </p:cNvSpPr>
          <p:nvPr>
            <p:ph sz="half" idx="3"/>
          </p:nvPr>
        </p:nvSpPr>
        <p:spPr>
          <a:xfrm>
            <a:off x="10353611" y="2662491"/>
            <a:ext cx="8745284" cy="76401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/>
          </a:p>
        </p:txBody>
      </p:sp>
      <p:sp>
        <p:nvSpPr>
          <p:cNvPr id="1048822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1048823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2</a:t>
            </a:fld>
            <a:endParaRPr lang="en-US"/>
          </a:p>
        </p:txBody>
      </p:sp>
      <p:sp>
        <p:nvSpPr>
          <p:cNvPr id="1048824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700" b="0" i="0">
                <a:solidFill>
                  <a:srgbClr val="001F5F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267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59" name="Рисунок 25"/>
          <p:cNvSpPr>
            <a:spLocks noGrp="1"/>
          </p:cNvSpPr>
          <p:nvPr>
            <p:ph type="pic" sz="quarter" idx="14"/>
          </p:nvPr>
        </p:nvSpPr>
        <p:spPr>
          <a:xfrm>
            <a:off x="15592604" y="2764570"/>
            <a:ext cx="2828419" cy="2895322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60" name="Рисунок 22"/>
          <p:cNvSpPr>
            <a:spLocks noGrp="1"/>
          </p:cNvSpPr>
          <p:nvPr>
            <p:ph type="pic" sz="quarter" idx="13"/>
          </p:nvPr>
        </p:nvSpPr>
        <p:spPr>
          <a:xfrm>
            <a:off x="10956096" y="2764570"/>
            <a:ext cx="2828419" cy="2895322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61" name="Рисунок 19"/>
          <p:cNvSpPr>
            <a:spLocks noGrp="1"/>
          </p:cNvSpPr>
          <p:nvPr>
            <p:ph type="pic" sz="quarter" idx="12"/>
          </p:nvPr>
        </p:nvSpPr>
        <p:spPr>
          <a:xfrm>
            <a:off x="6319588" y="2764570"/>
            <a:ext cx="2828419" cy="2895322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62" name="Рисунок 16"/>
          <p:cNvSpPr>
            <a:spLocks noGrp="1"/>
          </p:cNvSpPr>
          <p:nvPr>
            <p:ph type="pic" sz="quarter" idx="11"/>
          </p:nvPr>
        </p:nvSpPr>
        <p:spPr>
          <a:xfrm>
            <a:off x="1683080" y="2764570"/>
            <a:ext cx="2828419" cy="2895322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958"/>
            </a:lvl1pPr>
          </a:lstStyle>
          <a:p>
            <a:endParaRPr lang="ru-RU"/>
          </a:p>
        </p:txBody>
      </p:sp>
      <p:sp>
        <p:nvSpPr>
          <p:cNvPr id="1048863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6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865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66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67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6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86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70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871" name="Рисунок 22"/>
          <p:cNvSpPr>
            <a:spLocks noGrp="1"/>
          </p:cNvSpPr>
          <p:nvPr>
            <p:ph type="pic" sz="quarter" idx="11"/>
          </p:nvPr>
        </p:nvSpPr>
        <p:spPr>
          <a:xfrm>
            <a:off x="14802268" y="3002961"/>
            <a:ext cx="4451073" cy="2385485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872" name="Рисунок 23"/>
          <p:cNvSpPr>
            <a:spLocks noGrp="1"/>
          </p:cNvSpPr>
          <p:nvPr>
            <p:ph type="pic" sz="quarter" idx="12"/>
          </p:nvPr>
        </p:nvSpPr>
        <p:spPr>
          <a:xfrm>
            <a:off x="14802268" y="5582273"/>
            <a:ext cx="4451073" cy="2385485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48873" name="Рисунок 24"/>
          <p:cNvSpPr>
            <a:spLocks noGrp="1"/>
          </p:cNvSpPr>
          <p:nvPr>
            <p:ph type="pic" sz="quarter" idx="13"/>
          </p:nvPr>
        </p:nvSpPr>
        <p:spPr>
          <a:xfrm>
            <a:off x="14802268" y="8161584"/>
            <a:ext cx="4451073" cy="2385485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33" name="Полилиния: фигура 4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83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835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26966"/>
            <a:ext cx="10052050" cy="532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я</a:t>
            </a:r>
            <a:endParaRPr kumimoji="0" lang="en-US" sz="1731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2" name="bg object 16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099" cy="11570841"/>
          </a:xfrm>
          <a:prstGeom prst="rect">
            <a:avLst/>
          </a:prstGeom>
        </p:spPr>
      </p:pic>
      <p:sp>
        <p:nvSpPr>
          <p:cNvPr id="1048581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1048582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1048583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2</a:t>
            </a:fld>
            <a:endParaRPr lang="en-US"/>
          </a:p>
        </p:txBody>
      </p:sp>
      <p:sp>
        <p:nvSpPr>
          <p:cNvPr id="1048584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700" b="0" i="0">
                <a:solidFill>
                  <a:srgbClr val="001F5F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267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25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1048826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2</a:t>
            </a:fld>
            <a:endParaRPr lang="en-US"/>
          </a:p>
        </p:txBody>
      </p:sp>
      <p:sp>
        <p:nvSpPr>
          <p:cNvPr id="1048827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700" b="0" i="0">
                <a:solidFill>
                  <a:srgbClr val="001F5F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267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Группа 1"/>
          <p:cNvGrpSpPr/>
          <p:nvPr userDrawn="1"/>
        </p:nvGrpSpPr>
        <p:grpSpPr>
          <a:xfrm>
            <a:off x="3759467" y="2189391"/>
            <a:ext cx="7736617" cy="8265298"/>
            <a:chOff x="3759467" y="2189391"/>
            <a:chExt cx="7736617" cy="8265298"/>
          </a:xfrm>
        </p:grpSpPr>
        <p:pic>
          <p:nvPicPr>
            <p:cNvPr id="2097158" name="object 24"/>
            <p:cNvPicPr>
              <a:picLocks/>
            </p:cNvPicPr>
            <p:nvPr/>
          </p:nvPicPr>
          <p:blipFill>
            <a:blip r:embed="rId2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915274" y="2465822"/>
              <a:ext cx="7415899" cy="7988867"/>
            </a:xfrm>
            <a:prstGeom prst="rect">
              <a:avLst/>
            </a:prstGeom>
          </p:spPr>
        </p:pic>
        <p:sp>
          <p:nvSpPr>
            <p:cNvPr id="1048613" name="object 29"/>
            <p:cNvSpPr/>
            <p:nvPr/>
          </p:nvSpPr>
          <p:spPr>
            <a:xfrm>
              <a:off x="9823450" y="2810105"/>
              <a:ext cx="1080595" cy="1080595"/>
            </a:xfrm>
            <a:custGeom>
              <a:avLst/>
              <a:gdLst/>
              <a:ahLst/>
              <a:cxnLst/>
              <a:rect l="l" t="t" r="r" b="b"/>
              <a:pathLst>
                <a:path w="655320" h="655319">
                  <a:moveTo>
                    <a:pt x="327660" y="0"/>
                  </a:moveTo>
                  <a:lnTo>
                    <a:pt x="0" y="327660"/>
                  </a:lnTo>
                  <a:lnTo>
                    <a:pt x="327660" y="655319"/>
                  </a:lnTo>
                  <a:lnTo>
                    <a:pt x="655320" y="327660"/>
                  </a:lnTo>
                  <a:lnTo>
                    <a:pt x="327660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048614" name="object 30"/>
            <p:cNvSpPr/>
            <p:nvPr/>
          </p:nvSpPr>
          <p:spPr>
            <a:xfrm>
              <a:off x="9442450" y="2958373"/>
              <a:ext cx="963321" cy="963321"/>
            </a:xfrm>
            <a:custGeom>
              <a:avLst/>
              <a:gdLst/>
              <a:ahLst/>
              <a:cxnLst/>
              <a:rect l="l" t="t" r="r" b="b"/>
              <a:pathLst>
                <a:path w="584200" h="584200">
                  <a:moveTo>
                    <a:pt x="291845" y="0"/>
                  </a:moveTo>
                  <a:lnTo>
                    <a:pt x="0" y="291846"/>
                  </a:lnTo>
                  <a:lnTo>
                    <a:pt x="291845" y="583691"/>
                  </a:lnTo>
                  <a:lnTo>
                    <a:pt x="583691" y="291846"/>
                  </a:lnTo>
                  <a:lnTo>
                    <a:pt x="291845" y="0"/>
                  </a:lnTo>
                  <a:close/>
                </a:path>
              </a:pathLst>
            </a:custGeom>
            <a:solidFill>
              <a:srgbClr val="B8B7B7">
                <a:alpha val="16862"/>
              </a:srgbClr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pic>
          <p:nvPicPr>
            <p:cNvPr id="2097159" name="object 31"/>
            <p:cNvPicPr>
              <a:picLocks/>
            </p:cNvPicPr>
            <p:nvPr/>
          </p:nvPicPr>
          <p:blipFill>
            <a:blip r:embed="rId3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9213850" y="2189391"/>
              <a:ext cx="2282234" cy="2279931"/>
            </a:xfrm>
            <a:prstGeom prst="rect">
              <a:avLst/>
            </a:prstGeom>
          </p:spPr>
        </p:pic>
        <p:sp>
          <p:nvSpPr>
            <p:cNvPr id="1048615" name="object 32"/>
            <p:cNvSpPr/>
            <p:nvPr/>
          </p:nvSpPr>
          <p:spPr>
            <a:xfrm>
              <a:off x="9579604" y="8502078"/>
              <a:ext cx="834530" cy="834530"/>
            </a:xfrm>
            <a:custGeom>
              <a:avLst/>
              <a:gdLst/>
              <a:ahLst/>
              <a:cxnLst/>
              <a:rect l="l" t="t" r="r" b="b"/>
              <a:pathLst>
                <a:path w="506095" h="506095">
                  <a:moveTo>
                    <a:pt x="252984" y="0"/>
                  </a:moveTo>
                  <a:lnTo>
                    <a:pt x="0" y="252983"/>
                  </a:lnTo>
                  <a:lnTo>
                    <a:pt x="252984" y="505967"/>
                  </a:lnTo>
                  <a:lnTo>
                    <a:pt x="505967" y="252983"/>
                  </a:lnTo>
                  <a:lnTo>
                    <a:pt x="2529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048616" name="object 33"/>
            <p:cNvSpPr/>
            <p:nvPr/>
          </p:nvSpPr>
          <p:spPr>
            <a:xfrm>
              <a:off x="9933938" y="8615164"/>
              <a:ext cx="744478" cy="744478"/>
            </a:xfrm>
            <a:custGeom>
              <a:avLst/>
              <a:gdLst/>
              <a:ahLst/>
              <a:cxnLst/>
              <a:rect l="l" t="t" r="r" b="b"/>
              <a:pathLst>
                <a:path w="451485" h="451485">
                  <a:moveTo>
                    <a:pt x="225551" y="0"/>
                  </a:moveTo>
                  <a:lnTo>
                    <a:pt x="0" y="225552"/>
                  </a:lnTo>
                  <a:lnTo>
                    <a:pt x="225551" y="451103"/>
                  </a:lnTo>
                  <a:lnTo>
                    <a:pt x="451103" y="225552"/>
                  </a:lnTo>
                  <a:lnTo>
                    <a:pt x="225551" y="0"/>
                  </a:lnTo>
                  <a:close/>
                </a:path>
              </a:pathLst>
            </a:custGeom>
            <a:solidFill>
              <a:srgbClr val="B8B7B7">
                <a:alpha val="16862"/>
              </a:srgbClr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pic>
          <p:nvPicPr>
            <p:cNvPr id="2097160" name="object 34"/>
            <p:cNvPicPr>
              <a:picLocks/>
            </p:cNvPicPr>
            <p:nvPr/>
          </p:nvPicPr>
          <p:blipFill>
            <a:blip r:embed="rId4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8978994" y="7901468"/>
              <a:ext cx="1991289" cy="1991289"/>
            </a:xfrm>
            <a:prstGeom prst="rect">
              <a:avLst/>
            </a:prstGeom>
          </p:spPr>
        </p:pic>
        <p:pic>
          <p:nvPicPr>
            <p:cNvPr id="2097161" name="object 35"/>
            <p:cNvPicPr>
              <a:picLocks/>
            </p:cNvPicPr>
            <p:nvPr/>
          </p:nvPicPr>
          <p:blipFill>
            <a:blip r:embed="rId5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8079335" y="8494538"/>
              <a:ext cx="1842036" cy="1842038"/>
            </a:xfrm>
            <a:prstGeom prst="rect">
              <a:avLst/>
            </a:prstGeom>
          </p:spPr>
        </p:pic>
        <p:sp>
          <p:nvSpPr>
            <p:cNvPr id="1048617" name="object 36"/>
            <p:cNvSpPr/>
            <p:nvPr/>
          </p:nvSpPr>
          <p:spPr>
            <a:xfrm>
              <a:off x="7179677" y="3478566"/>
              <a:ext cx="809399" cy="809399"/>
            </a:xfrm>
            <a:custGeom>
              <a:avLst/>
              <a:gdLst/>
              <a:ahLst/>
              <a:cxnLst/>
              <a:rect l="l" t="t" r="r" b="b"/>
              <a:pathLst>
                <a:path w="490854" h="490855">
                  <a:moveTo>
                    <a:pt x="245364" y="0"/>
                  </a:moveTo>
                  <a:lnTo>
                    <a:pt x="0" y="245363"/>
                  </a:lnTo>
                  <a:lnTo>
                    <a:pt x="245364" y="490727"/>
                  </a:lnTo>
                  <a:lnTo>
                    <a:pt x="490728" y="245363"/>
                  </a:lnTo>
                  <a:lnTo>
                    <a:pt x="24536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048618" name="object 37"/>
            <p:cNvSpPr/>
            <p:nvPr/>
          </p:nvSpPr>
          <p:spPr>
            <a:xfrm>
              <a:off x="7101773" y="3400663"/>
              <a:ext cx="963321" cy="963321"/>
            </a:xfrm>
            <a:custGeom>
              <a:avLst/>
              <a:gdLst/>
              <a:ahLst/>
              <a:cxnLst/>
              <a:rect l="l" t="t" r="r" b="b"/>
              <a:pathLst>
                <a:path w="584200" h="584200">
                  <a:moveTo>
                    <a:pt x="291846" y="0"/>
                  </a:moveTo>
                  <a:lnTo>
                    <a:pt x="0" y="291846"/>
                  </a:lnTo>
                  <a:lnTo>
                    <a:pt x="291846" y="583691"/>
                  </a:lnTo>
                  <a:lnTo>
                    <a:pt x="583691" y="291846"/>
                  </a:lnTo>
                  <a:lnTo>
                    <a:pt x="291846" y="0"/>
                  </a:lnTo>
                  <a:close/>
                </a:path>
              </a:pathLst>
            </a:custGeom>
            <a:solidFill>
              <a:srgbClr val="B8B7B7">
                <a:alpha val="16862"/>
              </a:srgbClr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pic>
          <p:nvPicPr>
            <p:cNvPr id="2097162" name="object 38"/>
            <p:cNvPicPr>
              <a:picLocks/>
            </p:cNvPicPr>
            <p:nvPr/>
          </p:nvPicPr>
          <p:blipFill>
            <a:blip r:embed="rId6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28807" y="2827716"/>
              <a:ext cx="2065046" cy="2065047"/>
            </a:xfrm>
            <a:prstGeom prst="rect">
              <a:avLst/>
            </a:prstGeom>
          </p:spPr>
        </p:pic>
        <p:sp>
          <p:nvSpPr>
            <p:cNvPr id="1048619" name="object 39"/>
            <p:cNvSpPr/>
            <p:nvPr/>
          </p:nvSpPr>
          <p:spPr>
            <a:xfrm>
              <a:off x="4358953" y="5132129"/>
              <a:ext cx="1349697" cy="1349697"/>
            </a:xfrm>
            <a:custGeom>
              <a:avLst/>
              <a:gdLst/>
              <a:ahLst/>
              <a:cxnLst/>
              <a:rect l="l" t="t" r="r" b="b"/>
              <a:pathLst>
                <a:path w="818514" h="818514">
                  <a:moveTo>
                    <a:pt x="409194" y="0"/>
                  </a:moveTo>
                  <a:lnTo>
                    <a:pt x="0" y="409193"/>
                  </a:lnTo>
                  <a:lnTo>
                    <a:pt x="409194" y="818388"/>
                  </a:lnTo>
                  <a:lnTo>
                    <a:pt x="818388" y="409193"/>
                  </a:lnTo>
                  <a:lnTo>
                    <a:pt x="40919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048620" name="object 40"/>
            <p:cNvSpPr/>
            <p:nvPr/>
          </p:nvSpPr>
          <p:spPr>
            <a:xfrm>
              <a:off x="4252722" y="5003963"/>
              <a:ext cx="1608328" cy="1608328"/>
            </a:xfrm>
            <a:custGeom>
              <a:avLst/>
              <a:gdLst/>
              <a:ahLst/>
              <a:cxnLst/>
              <a:rect l="l" t="t" r="r" b="b"/>
              <a:pathLst>
                <a:path w="975360" h="975360">
                  <a:moveTo>
                    <a:pt x="487680" y="0"/>
                  </a:moveTo>
                  <a:lnTo>
                    <a:pt x="0" y="487679"/>
                  </a:lnTo>
                  <a:lnTo>
                    <a:pt x="487680" y="975360"/>
                  </a:lnTo>
                  <a:lnTo>
                    <a:pt x="975360" y="487679"/>
                  </a:lnTo>
                  <a:lnTo>
                    <a:pt x="487680" y="0"/>
                  </a:lnTo>
                  <a:close/>
                </a:path>
              </a:pathLst>
            </a:custGeom>
            <a:solidFill>
              <a:srgbClr val="B8B7B7">
                <a:alpha val="16862"/>
              </a:srgbClr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pic>
          <p:nvPicPr>
            <p:cNvPr id="2097163" name="object 41"/>
            <p:cNvPicPr>
              <a:picLocks/>
            </p:cNvPicPr>
            <p:nvPr/>
          </p:nvPicPr>
          <p:blipFill>
            <a:blip r:embed="rId7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759467" y="4518954"/>
              <a:ext cx="2529764" cy="2529766"/>
            </a:xfrm>
            <a:prstGeom prst="rect">
              <a:avLst/>
            </a:prstGeom>
          </p:spPr>
        </p:pic>
      </p:grpSp>
      <p:sp>
        <p:nvSpPr>
          <p:cNvPr id="1048621" name="Прямоугольник 28"/>
          <p:cNvSpPr/>
          <p:nvPr userDrawn="1"/>
        </p:nvSpPr>
        <p:spPr>
          <a:xfrm>
            <a:off x="0" y="27078"/>
            <a:ext cx="20104100" cy="11576050"/>
          </a:xfrm>
          <a:prstGeom prst="rect">
            <a:avLst/>
          </a:prstGeom>
          <a:solidFill>
            <a:schemeClr val="bg1">
              <a:alpha val="78000"/>
            </a:schemeClr>
          </a:soli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 dirty="0"/>
          </a:p>
        </p:txBody>
      </p:sp>
      <p:sp>
        <p:nvSpPr>
          <p:cNvPr id="1048622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62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624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62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78" name="Рисунок 11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7963109" y="2"/>
            <a:ext cx="12140992" cy="11603127"/>
          </a:xfrm>
          <a:prstGeom prst="rect">
            <a:avLst/>
          </a:prstGeom>
        </p:spPr>
      </p:pic>
      <p:sp>
        <p:nvSpPr>
          <p:cNvPr id="1048771" name="Прямоугольник 13"/>
          <p:cNvSpPr/>
          <p:nvPr userDrawn="1"/>
        </p:nvSpPr>
        <p:spPr>
          <a:xfrm>
            <a:off x="0" y="27078"/>
            <a:ext cx="18790421" cy="11576050"/>
          </a:xfrm>
          <a:prstGeom prst="rect">
            <a:avLst/>
          </a:prstGeom>
          <a:gradFill>
            <a:gsLst>
              <a:gs pos="46000">
                <a:schemeClr val="bg1"/>
              </a:gs>
              <a:gs pos="70000">
                <a:srgbClr val="FFFFFF">
                  <a:alpha val="47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 dirty="0"/>
          </a:p>
        </p:txBody>
      </p:sp>
      <p:sp>
        <p:nvSpPr>
          <p:cNvPr id="1048772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77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774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77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5" name="Picture 1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flipH="1">
            <a:off x="5345850" y="1749908"/>
            <a:ext cx="14758250" cy="9838833"/>
          </a:xfrm>
          <a:prstGeom prst="rect">
            <a:avLst/>
          </a:prstGeom>
          <a:noFill/>
        </p:spPr>
      </p:pic>
      <p:sp>
        <p:nvSpPr>
          <p:cNvPr id="1048587" name="Прямоугольник 13"/>
          <p:cNvSpPr/>
          <p:nvPr userDrawn="1"/>
        </p:nvSpPr>
        <p:spPr>
          <a:xfrm>
            <a:off x="0" y="0"/>
            <a:ext cx="16653562" cy="11576050"/>
          </a:xfrm>
          <a:prstGeom prst="rect">
            <a:avLst/>
          </a:prstGeom>
          <a:gradFill>
            <a:gsLst>
              <a:gs pos="55000">
                <a:schemeClr val="bg1"/>
              </a:gs>
              <a:gs pos="78000">
                <a:srgbClr val="FFFFFF">
                  <a:alpha val="47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/>
          </a:p>
        </p:txBody>
      </p:sp>
      <p:sp>
        <p:nvSpPr>
          <p:cNvPr id="1048588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58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590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59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48592" name="Прямоугольник 14"/>
          <p:cNvSpPr/>
          <p:nvPr userDrawn="1"/>
        </p:nvSpPr>
        <p:spPr>
          <a:xfrm rot="5400000">
            <a:off x="12368212" y="-3846510"/>
            <a:ext cx="3883026" cy="11576050"/>
          </a:xfrm>
          <a:prstGeom prst="rect">
            <a:avLst/>
          </a:prstGeom>
          <a:gradFill>
            <a:gsLst>
              <a:gs pos="46000">
                <a:schemeClr val="bg1"/>
              </a:gs>
              <a:gs pos="78000">
                <a:srgbClr val="FFFFFF">
                  <a:alpha val="47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74" name="Рисунок 11" descr="Изображение выглядит как клавиатура, внутренний, компьютер, сидит  Автоматически созданное описание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>
          <a:xfrm>
            <a:off x="15076096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2097175" name="Рисунок 13"/>
          <p:cNvPicPr>
            <a:picLocks noChangeAspect="1"/>
          </p:cNvPicPr>
          <p:nvPr userDrawn="1"/>
        </p:nvPicPr>
        <p:blipFill rotWithShape="1">
          <a:blip r:embed="rId3"/>
          <a:srcRect/>
          <a:stretch>
            <a:fillRect/>
          </a:stretch>
        </p:blipFill>
        <p:spPr>
          <a:xfrm>
            <a:off x="10059904" y="0"/>
            <a:ext cx="5026025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2097176" name="Рисунок 14"/>
          <p:cNvPicPr>
            <a:picLocks noChangeAspect="1"/>
          </p:cNvPicPr>
          <p:nvPr userDrawn="1"/>
        </p:nvPicPr>
        <p:blipFill rotWithShape="1">
          <a:blip r:embed="rId4" cstate="screen"/>
          <a:srcRect/>
          <a:stretch>
            <a:fillRect/>
          </a:stretch>
        </p:blipFill>
        <p:spPr>
          <a:xfrm>
            <a:off x="5029323" y="0"/>
            <a:ext cx="5028004" cy="1157605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2097177" name="Рисунок 15"/>
          <p:cNvPicPr>
            <a:picLocks noChangeAspect="1"/>
          </p:cNvPicPr>
          <p:nvPr userDrawn="1"/>
        </p:nvPicPr>
        <p:blipFill rotWithShape="1">
          <a:blip r:embed="rId5"/>
          <a:srcRect/>
          <a:stretch>
            <a:fillRect/>
          </a:stretch>
        </p:blipFill>
        <p:spPr>
          <a:xfrm>
            <a:off x="0" y="0"/>
            <a:ext cx="5025339" cy="11576050"/>
          </a:xfrm>
          <a:custGeom>
            <a:avLst/>
            <a:gdLst>
              <a:gd name="connsiteX0" fmla="*/ 0 w 3047584"/>
              <a:gd name="connsiteY0" fmla="*/ 0 h 6858000"/>
              <a:gd name="connsiteX1" fmla="*/ 3047584 w 3047584"/>
              <a:gd name="connsiteY1" fmla="*/ 0 h 6858000"/>
              <a:gd name="connsiteX2" fmla="*/ 3047584 w 3047584"/>
              <a:gd name="connsiteY2" fmla="*/ 6858000 h 6858000"/>
              <a:gd name="connsiteX3" fmla="*/ 0 w 3047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7584" h="6858000">
                <a:moveTo>
                  <a:pt x="0" y="0"/>
                </a:moveTo>
                <a:lnTo>
                  <a:pt x="3047584" y="0"/>
                </a:lnTo>
                <a:lnTo>
                  <a:pt x="3047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48755" name="Прямоугольник 16"/>
          <p:cNvSpPr/>
          <p:nvPr userDrawn="1"/>
        </p:nvSpPr>
        <p:spPr>
          <a:xfrm>
            <a:off x="10058646" y="0"/>
            <a:ext cx="5028004" cy="1157605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 dirty="0"/>
          </a:p>
        </p:txBody>
      </p:sp>
      <p:sp>
        <p:nvSpPr>
          <p:cNvPr id="1048756" name="Прямоугольник 24"/>
          <p:cNvSpPr/>
          <p:nvPr userDrawn="1"/>
        </p:nvSpPr>
        <p:spPr>
          <a:xfrm>
            <a:off x="5012174" y="0"/>
            <a:ext cx="5039876" cy="1157605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/>
          </a:p>
        </p:txBody>
      </p:sp>
      <p:sp>
        <p:nvSpPr>
          <p:cNvPr id="1048757" name="Прямоугольник 25"/>
          <p:cNvSpPr/>
          <p:nvPr userDrawn="1"/>
        </p:nvSpPr>
        <p:spPr>
          <a:xfrm>
            <a:off x="0" y="0"/>
            <a:ext cx="5025339" cy="1157605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/>
          </a:p>
        </p:txBody>
      </p:sp>
      <p:sp>
        <p:nvSpPr>
          <p:cNvPr id="1048758" name="Прямоугольник 26"/>
          <p:cNvSpPr/>
          <p:nvPr userDrawn="1"/>
        </p:nvSpPr>
        <p:spPr>
          <a:xfrm>
            <a:off x="15076096" y="0"/>
            <a:ext cx="5028004" cy="1157605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8" dirty="0"/>
          </a:p>
        </p:txBody>
      </p:sp>
      <p:sp>
        <p:nvSpPr>
          <p:cNvPr id="1048759" name="Полилиния: фигура 12"/>
          <p:cNvSpPr/>
          <p:nvPr userDrawn="1"/>
        </p:nvSpPr>
        <p:spPr>
          <a:xfrm>
            <a:off x="18191865" y="10857908"/>
            <a:ext cx="1912236" cy="639238"/>
          </a:xfrm>
          <a:custGeom>
            <a:avLst/>
            <a:gdLst>
              <a:gd name="connsiteX0" fmla="*/ 133516 w 1159663"/>
              <a:gd name="connsiteY0" fmla="*/ 0 h 378704"/>
              <a:gd name="connsiteX1" fmla="*/ 1159663 w 1159663"/>
              <a:gd name="connsiteY1" fmla="*/ 0 h 378704"/>
              <a:gd name="connsiteX2" fmla="*/ 1159663 w 1159663"/>
              <a:gd name="connsiteY2" fmla="*/ 378704 h 378704"/>
              <a:gd name="connsiteX3" fmla="*/ 0 w 1159663"/>
              <a:gd name="connsiteY3" fmla="*/ 378704 h 378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63" h="378704">
                <a:moveTo>
                  <a:pt x="133516" y="0"/>
                </a:moveTo>
                <a:lnTo>
                  <a:pt x="1159663" y="0"/>
                </a:lnTo>
                <a:lnTo>
                  <a:pt x="1159663" y="378704"/>
                </a:lnTo>
                <a:lnTo>
                  <a:pt x="0" y="378704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2968"/>
          </a:p>
        </p:txBody>
      </p:sp>
      <p:sp>
        <p:nvSpPr>
          <p:cNvPr id="104876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  <p:sp>
        <p:nvSpPr>
          <p:cNvPr id="1048761" name="Текст 17"/>
          <p:cNvSpPr>
            <a:spLocks noGrp="1"/>
          </p:cNvSpPr>
          <p:nvPr>
            <p:ph type="body" sz="quarter" idx="10" hasCustomPrompt="1"/>
          </p:nvPr>
        </p:nvSpPr>
        <p:spPr>
          <a:xfrm>
            <a:off x="850757" y="10733356"/>
            <a:ext cx="10052050" cy="5327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7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04876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50763" y="295265"/>
            <a:ext cx="15802800" cy="1454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6" name="Holder 2"/>
          <p:cNvSpPr>
            <a:spLocks noGrp="1"/>
          </p:cNvSpPr>
          <p:nvPr>
            <p:ph type="title"/>
          </p:nvPr>
        </p:nvSpPr>
        <p:spPr>
          <a:xfrm>
            <a:off x="451234" y="163696"/>
            <a:ext cx="19201631" cy="14712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1048577" name="Holder 3"/>
          <p:cNvSpPr>
            <a:spLocks noGrp="1"/>
          </p:cNvSpPr>
          <p:nvPr>
            <p:ph type="body" idx="1"/>
          </p:nvPr>
        </p:nvSpPr>
        <p:spPr>
          <a:xfrm>
            <a:off x="434515" y="1994389"/>
            <a:ext cx="17378045" cy="53003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1048578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765727"/>
            <a:ext cx="6433312" cy="5788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1048579" name="Holder 5"/>
          <p:cNvSpPr>
            <a:spLocks noGrp="1"/>
          </p:cNvSpPr>
          <p:nvPr>
            <p:ph type="dt" sz="half" idx="6"/>
          </p:nvPr>
        </p:nvSpPr>
        <p:spPr>
          <a:xfrm>
            <a:off x="1005205" y="10765727"/>
            <a:ext cx="4623943" cy="5788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2</a:t>
            </a:fld>
            <a:endParaRPr lang="en-US"/>
          </a:p>
        </p:txBody>
      </p:sp>
      <p:sp>
        <p:nvSpPr>
          <p:cNvPr id="1048580" name="Holder 6"/>
          <p:cNvSpPr>
            <a:spLocks noGrp="1"/>
          </p:cNvSpPr>
          <p:nvPr>
            <p:ph type="sldNum" sz="quarter" idx="7"/>
          </p:nvPr>
        </p:nvSpPr>
        <p:spPr>
          <a:xfrm>
            <a:off x="19857074" y="11171070"/>
            <a:ext cx="263525" cy="3695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700" b="0" i="0">
                <a:solidFill>
                  <a:srgbClr val="001F5F"/>
                </a:solidFill>
                <a:latin typeface="Calibri Light"/>
                <a:cs typeface="Calibri Light"/>
              </a:defRPr>
            </a:lvl1pPr>
          </a:lstStyle>
          <a:p>
            <a:pPr marL="38100">
              <a:lnSpc>
                <a:spcPts val="267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6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lang="ru-RU" sz="4617" b="1" kern="1200" dirty="0">
          <a:solidFill>
            <a:schemeClr val="accent4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565442" indent="-565442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5277" kern="1200">
          <a:solidFill>
            <a:schemeClr val="tx1"/>
          </a:solidFill>
          <a:latin typeface="+mn-lt"/>
          <a:ea typeface="+mn-ea"/>
          <a:cs typeface="+mn-cs"/>
        </a:defRPr>
      </a:lvl1pPr>
      <a:lvl2pPr marL="1225125" indent="-471202" algn="l" defTabSz="1507846" rtl="0" eaLnBrk="1" latinLnBrk="0" hangingPunct="1">
        <a:spcBef>
          <a:spcPct val="20000"/>
        </a:spcBef>
        <a:buFont typeface="Arial" panose="020B0604020202020204" pitchFamily="34" charset="0"/>
        <a:buChar char="–"/>
        <a:defRPr sz="4617" kern="1200">
          <a:solidFill>
            <a:schemeClr val="tx1"/>
          </a:solidFill>
          <a:latin typeface="+mn-lt"/>
          <a:ea typeface="+mn-ea"/>
          <a:cs typeface="+mn-cs"/>
        </a:defRPr>
      </a:lvl2pPr>
      <a:lvl3pPr marL="1884807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3pPr>
      <a:lvl4pPr marL="2638730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–"/>
        <a:defRPr sz="3298" kern="1200">
          <a:solidFill>
            <a:schemeClr val="tx1"/>
          </a:solidFill>
          <a:latin typeface="+mn-lt"/>
          <a:ea typeface="+mn-ea"/>
          <a:cs typeface="+mn-cs"/>
        </a:defRPr>
      </a:lvl4pPr>
      <a:lvl5pPr marL="3392653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»"/>
        <a:defRPr sz="3298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8386467" y="10867002"/>
            <a:ext cx="840317" cy="6163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09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lang="ru-RU" sz="4617" b="1" kern="1200" dirty="0">
          <a:solidFill>
            <a:schemeClr val="accent4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565442" indent="-565442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5277" kern="1200">
          <a:solidFill>
            <a:schemeClr val="tx1"/>
          </a:solidFill>
          <a:latin typeface="+mn-lt"/>
          <a:ea typeface="+mn-ea"/>
          <a:cs typeface="+mn-cs"/>
        </a:defRPr>
      </a:lvl1pPr>
      <a:lvl2pPr marL="1225125" indent="-471202" algn="l" defTabSz="1507846" rtl="0" eaLnBrk="1" latinLnBrk="0" hangingPunct="1">
        <a:spcBef>
          <a:spcPct val="20000"/>
        </a:spcBef>
        <a:buFont typeface="Arial" panose="020B0604020202020204" pitchFamily="34" charset="0"/>
        <a:buChar char="–"/>
        <a:defRPr sz="4617" kern="1200">
          <a:solidFill>
            <a:schemeClr val="tx1"/>
          </a:solidFill>
          <a:latin typeface="+mn-lt"/>
          <a:ea typeface="+mn-ea"/>
          <a:cs typeface="+mn-cs"/>
        </a:defRPr>
      </a:lvl2pPr>
      <a:lvl3pPr marL="1884807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3pPr>
      <a:lvl4pPr marL="2638730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–"/>
        <a:defRPr sz="3298" kern="1200">
          <a:solidFill>
            <a:schemeClr val="tx1"/>
          </a:solidFill>
          <a:latin typeface="+mn-lt"/>
          <a:ea typeface="+mn-ea"/>
          <a:cs typeface="+mn-cs"/>
        </a:defRPr>
      </a:lvl4pPr>
      <a:lvl5pPr marL="3392653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»"/>
        <a:defRPr sz="3298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spcBef>
          <a:spcPct val="20000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3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chart" Target="../charts/chart1.xml"/><Relationship Id="rId9" Type="http://schemas.openxmlformats.org/officeDocument/2006/relationships/image" Target="../media/image35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hyperlink" Target="https://&#1087;&#1088;&#1086;&#1080;&#1079;&#1074;&#1086;&#1076;&#1080;&#1090;&#1077;&#1083;&#1100;&#1085;&#1086;&#1089;&#1090;&#1100;.&#1088;&#1092;/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5" name="object 2"/>
          <p:cNvSpPr txBox="1">
            <a:spLocks noGrp="1"/>
          </p:cNvSpPr>
          <p:nvPr>
            <p:ph type="title"/>
          </p:nvPr>
        </p:nvSpPr>
        <p:spPr>
          <a:xfrm>
            <a:off x="3346450" y="4384358"/>
            <a:ext cx="13411200" cy="2807336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ctr">
              <a:lnSpc>
                <a:spcPts val="5530"/>
              </a:lnSpc>
              <a:spcBef>
                <a:spcPts val="105"/>
              </a:spcBef>
              <a:tabLst>
                <a:tab pos="7305040" algn="l"/>
              </a:tabLst>
            </a:pPr>
            <a:r>
              <a:rPr lang="ru-RU" sz="485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АЛИЗАЦИЯ</a:t>
            </a:r>
            <a:r>
              <a:rPr lang="ru-RU" sz="4850" spc="1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ru-RU" sz="4850" spc="1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485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ЦИОНАЛЬНОГО </a:t>
            </a:r>
            <a:r>
              <a:rPr lang="ru-RU" sz="4850" spc="-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ЕКТА</a:t>
            </a:r>
            <a:br>
              <a:rPr lang="ru-RU" sz="48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4850" spc="-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ПРОИЗВОДИТЕЛЬНОСТЬ ТРУДА» </a:t>
            </a:r>
            <a:r>
              <a:rPr lang="ru-RU" sz="4850" spc="-108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ru-RU" sz="4850" spc="-108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485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</a:t>
            </a:r>
            <a:r>
              <a:rPr lang="ru-RU" sz="4850" spc="-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485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СКОВСКОЙ</a:t>
            </a:r>
            <a:r>
              <a:rPr lang="ru-RU" sz="4850" spc="-1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4850" spc="-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ЛАСТИ</a:t>
            </a:r>
            <a:endParaRPr lang="ru-RU" sz="48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97153" name="object 3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919450" y="8150225"/>
            <a:ext cx="4001579" cy="3175720"/>
          </a:xfrm>
          <a:prstGeom prst="rect">
            <a:avLst/>
          </a:prstGeom>
        </p:spPr>
      </p:pic>
      <p:pic>
        <p:nvPicPr>
          <p:cNvPr id="2097154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11150" y="-307975"/>
            <a:ext cx="5910076" cy="455287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2" name="Заголовок 4"/>
          <p:cNvSpPr>
            <a:spLocks noGrp="1"/>
          </p:cNvSpPr>
          <p:nvPr>
            <p:ph type="title"/>
          </p:nvPr>
        </p:nvSpPr>
        <p:spPr>
          <a:xfrm>
            <a:off x="850762" y="295265"/>
            <a:ext cx="16592687" cy="1354217"/>
          </a:xfr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ЗУЛЬТАТЫ РЕАЛИЗАЦИИ НАЦ. ПРОЕКТА В МОСКОВСКОЙ ОБЛАСТИ</a:t>
            </a:r>
            <a:endParaRPr lang="ru-RU" sz="4400" dirty="0"/>
          </a:p>
        </p:txBody>
      </p:sp>
      <p:sp>
        <p:nvSpPr>
          <p:cNvPr id="1048673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1A2DEA-0812-41F9-88C5-48F7F643210D}" type="slidenum">
              <a:rPr lang="ru-RU" smtClean="0"/>
              <a:t>10</a:t>
            </a:fld>
            <a:endParaRPr lang="ru-RU"/>
          </a:p>
        </p:txBody>
      </p:sp>
      <p:graphicFrame>
        <p:nvGraphicFramePr>
          <p:cNvPr id="4194305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888397"/>
              </p:ext>
            </p:extLst>
          </p:nvPr>
        </p:nvGraphicFramePr>
        <p:xfrm>
          <a:off x="850755" y="2111487"/>
          <a:ext cx="15602096" cy="3333374"/>
        </p:xfrm>
        <a:graphic>
          <a:graphicData uri="http://schemas.openxmlformats.org/drawingml/2006/table">
            <a:tbl>
              <a:tblPr firstRow="1" bandRow="1"/>
              <a:tblGrid>
                <a:gridCol w="11285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901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916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916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929343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algn="ctr" defTabSz="1507846" rtl="0" eaLnBrk="1" latinLnBrk="0" hangingPunct="1"/>
                      <a:r>
                        <a:rPr lang="ru-RU" sz="24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казатель </a:t>
                      </a:r>
                    </a:p>
                  </a:txBody>
                  <a:tcPr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1 год</a:t>
                      </a:r>
                    </a:p>
                  </a:txBody>
                  <a:tcPr marL="59363" marR="59363" marT="59363" marB="118725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2 год </a:t>
                      </a:r>
                    </a:p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на 1 июня)</a:t>
                      </a:r>
                    </a:p>
                    <a:p>
                      <a:pPr algn="ctr"/>
                      <a:endParaRPr lang="ru-RU" sz="24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9363" marR="59363" marT="59363" marB="118725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90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ru-RU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</a:p>
                  </a:txBody>
                  <a:tcPr marL="150781" marR="150781" marT="75390" marB="7539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ru-RU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еализованные проекты по повышению производительности труда</a:t>
                      </a:r>
                      <a:endParaRPr kumimoji="0" lang="ru-RU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C1C1C">
                            <a:alpha val="60000"/>
                          </a:srgbClr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50781" marR="150781" marT="75390" marB="7539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6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ctr"/>
                      <a:r>
                        <a:rPr lang="ru-RU" sz="36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290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ru-RU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</a:p>
                  </a:txBody>
                  <a:tcPr marL="150781" marR="150781" marT="75390" marB="7539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ru-RU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бученные сотрудники предприятий</a:t>
                      </a:r>
                      <a:endParaRPr kumimoji="0" lang="ru-RU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C1C1C">
                            <a:alpha val="60000"/>
                          </a:srgbClr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50781" marR="150781" marT="75390" marB="7539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 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ctr"/>
                      <a:r>
                        <a:rPr lang="ru-RU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 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48674" name="object 3"/>
          <p:cNvSpPr txBox="1"/>
          <p:nvPr/>
        </p:nvSpPr>
        <p:spPr>
          <a:xfrm>
            <a:off x="1441450" y="7007225"/>
            <a:ext cx="17983201" cy="254883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12065" rIns="0" bIns="0" rtlCol="0">
            <a:spAutoFit/>
          </a:bodyPr>
          <a:lstStyle/>
          <a:p>
            <a:pPr marL="12700" marR="573405">
              <a:lnSpc>
                <a:spcPct val="150000"/>
              </a:lnSpc>
              <a:spcBef>
                <a:spcPts val="95"/>
              </a:spcBef>
            </a:pPr>
            <a:r>
              <a:rPr lang="ru-RU" sz="2800" b="1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стадии реализации 74 компании:</a:t>
            </a:r>
          </a:p>
          <a:p>
            <a:pPr marL="584200" marR="573405" indent="-571500">
              <a:lnSpc>
                <a:spcPct val="150000"/>
              </a:lnSpc>
              <a:spcBef>
                <a:spcPts val="95"/>
              </a:spcBef>
              <a:buFont typeface="Arial" panose="020B0604020202020204" pitchFamily="34" charset="0"/>
              <a:buChar char="•"/>
            </a:pPr>
            <a:r>
              <a:rPr lang="ru-RU" sz="28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 – окончание проекта сентябрь</a:t>
            </a:r>
          </a:p>
          <a:p>
            <a:pPr marL="584200" marR="573405" indent="-571500">
              <a:lnSpc>
                <a:spcPct val="150000"/>
              </a:lnSpc>
              <a:spcBef>
                <a:spcPts val="95"/>
              </a:spcBef>
              <a:buFont typeface="Arial" panose="020B0604020202020204" pitchFamily="34" charset="0"/>
              <a:buChar char="•"/>
            </a:pPr>
            <a:r>
              <a:rPr lang="ru-RU" sz="2800" spc="5" dirty="0">
                <a:latin typeface="Verdana" panose="020B0604030504040204" pitchFamily="34" charset="0"/>
                <a:ea typeface="Verdana" panose="020B0604030504040204" pitchFamily="34" charset="0"/>
              </a:rPr>
              <a:t>31</a:t>
            </a:r>
            <a:r>
              <a:rPr lang="ru-RU" sz="28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окончание проекта октябрь</a:t>
            </a:r>
          </a:p>
          <a:p>
            <a:pPr marL="584200" marR="573405" indent="-571500">
              <a:lnSpc>
                <a:spcPct val="150000"/>
              </a:lnSpc>
              <a:spcBef>
                <a:spcPts val="95"/>
              </a:spcBef>
              <a:buFont typeface="Arial" panose="020B0604020202020204" pitchFamily="34" charset="0"/>
              <a:buChar char="•"/>
            </a:pPr>
            <a:r>
              <a:rPr lang="ru-RU" sz="2800" spc="5" dirty="0">
                <a:latin typeface="Verdana" panose="020B0604030504040204" pitchFamily="34" charset="0"/>
                <a:ea typeface="Verdana" panose="020B0604030504040204" pitchFamily="34" charset="0"/>
              </a:rPr>
              <a:t>31</a:t>
            </a:r>
            <a:r>
              <a:rPr lang="ru-RU" sz="28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окончание проекта декабрь</a:t>
            </a:r>
          </a:p>
        </p:txBody>
      </p:sp>
    </p:spTree>
    <p:extLst>
      <p:ext uri="{BB962C8B-B14F-4D97-AF65-F5344CB8AC3E}">
        <p14:creationId xmlns:p14="http://schemas.microsoft.com/office/powerpoint/2010/main" val="39702073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2" name="Заголовок 4"/>
          <p:cNvSpPr>
            <a:spLocks noGrp="1"/>
          </p:cNvSpPr>
          <p:nvPr>
            <p:ph type="title"/>
          </p:nvPr>
        </p:nvSpPr>
        <p:spPr>
          <a:xfrm>
            <a:off x="850762" y="295265"/>
            <a:ext cx="18650088" cy="1354217"/>
          </a:xfr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ИЗВОДИТЕЛЬНОСТЬ ТРУДА И ИМПОРТОЗАМЕЩЕНИЕ</a:t>
            </a:r>
            <a:endParaRPr lang="ru-RU" sz="4400" dirty="0"/>
          </a:p>
        </p:txBody>
      </p:sp>
      <p:sp>
        <p:nvSpPr>
          <p:cNvPr id="1048673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1A2DEA-0812-41F9-88C5-48F7F643210D}" type="slidenum">
              <a:rPr lang="ru-RU" smtClean="0"/>
              <a:t>11</a:t>
            </a:fld>
            <a:endParaRPr lang="ru-RU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7BA78D8A-369B-3047-956F-C57A23AF0D53}"/>
              </a:ext>
            </a:extLst>
          </p:cNvPr>
          <p:cNvGrpSpPr/>
          <p:nvPr/>
        </p:nvGrpSpPr>
        <p:grpSpPr>
          <a:xfrm>
            <a:off x="850758" y="1673225"/>
            <a:ext cx="5808729" cy="9074436"/>
            <a:chOff x="8153398" y="1238465"/>
            <a:chExt cx="3522666" cy="4998823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347876C6-12E8-294B-BA33-D0C832EAD404}"/>
                </a:ext>
              </a:extLst>
            </p:cNvPr>
            <p:cNvSpPr/>
            <p:nvPr/>
          </p:nvSpPr>
          <p:spPr>
            <a:xfrm>
              <a:off x="8153400" y="1238465"/>
              <a:ext cx="3522664" cy="499882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endParaRPr lang="ru-RU" sz="2968">
                <a:solidFill>
                  <a:srgbClr val="FFFFFF"/>
                </a:solidFill>
                <a:latin typeface="VTB Group Book"/>
              </a:endParaRPr>
            </a:p>
          </p:txBody>
        </p: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1CAEF0A9-A6A2-AB41-BB30-479EE59BFC69}"/>
                </a:ext>
              </a:extLst>
            </p:cNvPr>
            <p:cNvGrpSpPr/>
            <p:nvPr/>
          </p:nvGrpSpPr>
          <p:grpSpPr>
            <a:xfrm>
              <a:off x="8153400" y="2904739"/>
              <a:ext cx="3522662" cy="1666275"/>
              <a:chOff x="8153399" y="2904739"/>
              <a:chExt cx="3597909" cy="1666275"/>
            </a:xfrm>
          </p:grpSpPr>
          <p:cxnSp>
            <p:nvCxnSpPr>
              <p:cNvPr id="26" name="Прямая соединительная линия 25">
                <a:extLst>
                  <a:ext uri="{FF2B5EF4-FFF2-40B4-BE49-F238E27FC236}">
                    <a16:creationId xmlns:a16="http://schemas.microsoft.com/office/drawing/2014/main" id="{DD6D0A3B-6B03-914C-8ED9-3FEB5AE056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53399" y="4571014"/>
                <a:ext cx="3597909" cy="0"/>
              </a:xfrm>
              <a:prstGeom prst="line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" name="Прямая соединительная линия 26">
                <a:extLst>
                  <a:ext uri="{FF2B5EF4-FFF2-40B4-BE49-F238E27FC236}">
                    <a16:creationId xmlns:a16="http://schemas.microsoft.com/office/drawing/2014/main" id="{CF2E34F9-ECDA-DD45-A943-5F7193513D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53399" y="2904739"/>
                <a:ext cx="3597909" cy="0"/>
              </a:xfrm>
              <a:prstGeom prst="line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EE0FA34-743B-764F-80DC-C492A76D4462}"/>
                </a:ext>
              </a:extLst>
            </p:cNvPr>
            <p:cNvSpPr txBox="1"/>
            <p:nvPr/>
          </p:nvSpPr>
          <p:spPr>
            <a:xfrm>
              <a:off x="8153398" y="1359513"/>
              <a:ext cx="3522662" cy="14241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1507846"/>
              <a:r>
                <a:rPr lang="ru-RU" sz="7200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20</a:t>
              </a:r>
              <a:endParaRPr lang="en-US" sz="7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507846"/>
              <a:r>
                <a:rPr lang="ru-RU" sz="3200" dirty="0">
                  <a:solidFill>
                    <a:srgbClr val="1C1C1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омпании реализуют проекты </a:t>
              </a:r>
              <a:r>
                <a:rPr lang="ru-RU" sz="3200" dirty="0" err="1">
                  <a:solidFill>
                    <a:srgbClr val="1C1C1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импортозамещения</a:t>
              </a:r>
              <a:r>
                <a:rPr lang="ru-RU" sz="3200" dirty="0">
                  <a:solidFill>
                    <a:srgbClr val="1C1C1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в МО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7C11116-BD5C-534C-A133-95E3193DA15F}"/>
                </a:ext>
              </a:extLst>
            </p:cNvPr>
            <p:cNvSpPr txBox="1"/>
            <p:nvPr/>
          </p:nvSpPr>
          <p:spPr>
            <a:xfrm>
              <a:off x="8153399" y="3161425"/>
              <a:ext cx="3522661" cy="115290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1507846"/>
              <a:r>
                <a:rPr lang="ru-RU" sz="7200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8</a:t>
              </a:r>
              <a:endParaRPr lang="en-US" sz="7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507846"/>
              <a:r>
                <a:rPr lang="ru-RU" sz="3200" dirty="0">
                  <a:solidFill>
                    <a:srgbClr val="1C1C1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омпании стали участниками нац. проекта 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F617F48-A062-F342-B7D2-979B015638FE}"/>
                </a:ext>
              </a:extLst>
            </p:cNvPr>
            <p:cNvSpPr txBox="1"/>
            <p:nvPr/>
          </p:nvSpPr>
          <p:spPr>
            <a:xfrm>
              <a:off x="8153399" y="4691410"/>
              <a:ext cx="3522661" cy="14241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1507846"/>
              <a:r>
                <a:rPr lang="ru-RU" sz="7200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5</a:t>
              </a:r>
              <a:endParaRPr lang="en-US" sz="7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507846"/>
              <a:r>
                <a:rPr lang="ru-RU" sz="3200" dirty="0">
                  <a:solidFill>
                    <a:srgbClr val="1C1C1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омпаний соответствуют критериям – потенциальные участники</a:t>
              </a:r>
            </a:p>
          </p:txBody>
        </p:sp>
      </p:grp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34FF27E0-FD4C-584B-B3EE-B5DDCEEC8704}"/>
              </a:ext>
            </a:extLst>
          </p:cNvPr>
          <p:cNvSpPr/>
          <p:nvPr/>
        </p:nvSpPr>
        <p:spPr>
          <a:xfrm>
            <a:off x="7004050" y="1673228"/>
            <a:ext cx="12496800" cy="9074436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75000"/>
              </a:srgbClr>
            </a:solidFill>
            <a:prstDash val="solid"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50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968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TB Group Book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EA34F223-F69C-1F4D-AD23-EA84D00E3F62}"/>
              </a:ext>
            </a:extLst>
          </p:cNvPr>
          <p:cNvSpPr/>
          <p:nvPr/>
        </p:nvSpPr>
        <p:spPr>
          <a:xfrm>
            <a:off x="7004050" y="1673225"/>
            <a:ext cx="12496793" cy="819203"/>
          </a:xfrm>
          <a:custGeom>
            <a:avLst/>
            <a:gdLst>
              <a:gd name="connsiteX0" fmla="*/ 0 w 5472482"/>
              <a:gd name="connsiteY0" fmla="*/ 0 h 496800"/>
              <a:gd name="connsiteX1" fmla="*/ 3802990 w 5472482"/>
              <a:gd name="connsiteY1" fmla="*/ 0 h 496800"/>
              <a:gd name="connsiteX2" fmla="*/ 5154058 w 5472482"/>
              <a:gd name="connsiteY2" fmla="*/ 0 h 496800"/>
              <a:gd name="connsiteX3" fmla="*/ 5472482 w 5472482"/>
              <a:gd name="connsiteY3" fmla="*/ 0 h 496800"/>
              <a:gd name="connsiteX4" fmla="*/ 5297330 w 5472482"/>
              <a:gd name="connsiteY4" fmla="*/ 496800 h 496800"/>
              <a:gd name="connsiteX5" fmla="*/ 3627838 w 5472482"/>
              <a:gd name="connsiteY5" fmla="*/ 496800 h 496800"/>
              <a:gd name="connsiteX6" fmla="*/ 3628066 w 5472482"/>
              <a:gd name="connsiteY6" fmla="*/ 496153 h 496800"/>
              <a:gd name="connsiteX7" fmla="*/ 0 w 5472482"/>
              <a:gd name="connsiteY7" fmla="*/ 496153 h 49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72482" h="496800">
                <a:moveTo>
                  <a:pt x="0" y="0"/>
                </a:moveTo>
                <a:lnTo>
                  <a:pt x="3802990" y="0"/>
                </a:lnTo>
                <a:lnTo>
                  <a:pt x="5154058" y="0"/>
                </a:lnTo>
                <a:lnTo>
                  <a:pt x="5472482" y="0"/>
                </a:lnTo>
                <a:lnTo>
                  <a:pt x="5297330" y="496800"/>
                </a:lnTo>
                <a:lnTo>
                  <a:pt x="3627838" y="496800"/>
                </a:lnTo>
                <a:lnTo>
                  <a:pt x="3628066" y="496153"/>
                </a:lnTo>
                <a:lnTo>
                  <a:pt x="0" y="496153"/>
                </a:lnTo>
                <a:close/>
              </a:path>
            </a:pathLst>
          </a:cu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wrap="square" lIns="237450" rtlCol="0" anchor="ctr">
            <a:noAutofit/>
          </a:bodyPr>
          <a:lstStyle/>
          <a:p>
            <a:pPr marL="0" marR="0" lvl="0" indent="0" defTabSz="15078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Tx/>
              <a:buNone/>
              <a:tabLst/>
              <a:defRPr/>
            </a:pPr>
            <a:r>
              <a:rPr kumimoji="0" lang="ru-RU" sz="329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астники нац. проекта</a:t>
            </a:r>
          </a:p>
        </p:txBody>
      </p:sp>
      <p:graphicFrame>
        <p:nvGraphicFramePr>
          <p:cNvPr id="38" name="Таблица 10">
            <a:extLst>
              <a:ext uri="{FF2B5EF4-FFF2-40B4-BE49-F238E27FC236}">
                <a16:creationId xmlns:a16="http://schemas.microsoft.com/office/drawing/2014/main" id="{B66E7708-F70F-FC4B-9514-B311647A35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828163"/>
              </p:ext>
            </p:extLst>
          </p:nvPr>
        </p:nvGraphicFramePr>
        <p:xfrm>
          <a:off x="7004047" y="2491360"/>
          <a:ext cx="12496794" cy="8256304"/>
        </p:xfrm>
        <a:graphic>
          <a:graphicData uri="http://schemas.openxmlformats.org/drawingml/2006/table">
            <a:tbl>
              <a:tblPr firstRow="1" bandRow="1"/>
              <a:tblGrid>
                <a:gridCol w="646668">
                  <a:extLst>
                    <a:ext uri="{9D8B030D-6E8A-4147-A177-3AD203B41FA5}">
                      <a16:colId xmlns:a16="http://schemas.microsoft.com/office/drawing/2014/main" val="2908162889"/>
                    </a:ext>
                  </a:extLst>
                </a:gridCol>
                <a:gridCol w="4077735">
                  <a:extLst>
                    <a:ext uri="{9D8B030D-6E8A-4147-A177-3AD203B41FA5}">
                      <a16:colId xmlns:a16="http://schemas.microsoft.com/office/drawing/2014/main" val="2165661010"/>
                    </a:ext>
                  </a:extLst>
                </a:gridCol>
                <a:gridCol w="3989423">
                  <a:extLst>
                    <a:ext uri="{9D8B030D-6E8A-4147-A177-3AD203B41FA5}">
                      <a16:colId xmlns:a16="http://schemas.microsoft.com/office/drawing/2014/main" val="806825833"/>
                    </a:ext>
                  </a:extLst>
                </a:gridCol>
                <a:gridCol w="1891484">
                  <a:extLst>
                    <a:ext uri="{9D8B030D-6E8A-4147-A177-3AD203B41FA5}">
                      <a16:colId xmlns:a16="http://schemas.microsoft.com/office/drawing/2014/main" val="2403813612"/>
                    </a:ext>
                  </a:extLst>
                </a:gridCol>
                <a:gridCol w="1891484">
                  <a:extLst>
                    <a:ext uri="{9D8B030D-6E8A-4147-A177-3AD203B41FA5}">
                      <a16:colId xmlns:a16="http://schemas.microsoft.com/office/drawing/2014/main" val="424204677"/>
                    </a:ext>
                  </a:extLst>
                </a:gridCol>
              </a:tblGrid>
              <a:tr h="680424">
                <a:tc>
                  <a:txBody>
                    <a:bodyPr/>
                    <a:lstStyle/>
                    <a:p>
                      <a:r>
                        <a:rPr kumimoji="0" lang="ru-RU" sz="1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№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753923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1507846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2261768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3015691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3769614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4523537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527746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6031382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r>
                        <a:rPr kumimoji="0" lang="ru-RU" sz="1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Компания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оект</a:t>
                      </a: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753923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1507846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2261768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3015691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3769614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4523537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527746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6031382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pPr algn="ctr"/>
                      <a:r>
                        <a:rPr kumimoji="0" lang="ru-RU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Инвестиции, </a:t>
                      </a:r>
                      <a:r>
                        <a:rPr kumimoji="0" lang="ru-RU" sz="1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млн.руб</a:t>
                      </a:r>
                      <a:endParaRPr lang="ru-RU" sz="1700" b="0" baseline="30000" dirty="0">
                        <a:solidFill>
                          <a:schemeClr val="accen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753923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1507846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2261768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3015691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3769614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4523537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527746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6031382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pPr algn="ctr"/>
                      <a:r>
                        <a:rPr kumimoji="0" lang="ru-RU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абочие места, ед.</a:t>
                      </a:r>
                      <a:endParaRPr lang="ru-RU" sz="1700" b="0" dirty="0">
                        <a:solidFill>
                          <a:schemeClr val="accen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049126"/>
                  </a:ext>
                </a:extLst>
              </a:tr>
              <a:tr h="843036"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753923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1507846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2261768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3015691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3769614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4523537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527746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6031382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ОО «ТД «КУДО»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троительство завода по производству клеев и </a:t>
                      </a:r>
                      <a:r>
                        <a:rPr lang="ru-RU" sz="2000" b="0" dirty="0" err="1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герметиков</a:t>
                      </a:r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3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2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650637"/>
                  </a:ext>
                </a:extLst>
              </a:tr>
              <a:tr h="843036"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ОО «Птицефабрика «</a:t>
                      </a:r>
                      <a:r>
                        <a:rPr lang="ru-RU" sz="2000" b="0" dirty="0" err="1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Элинар</a:t>
                      </a:r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Бройлер» 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оздание племенного репродуктора</a:t>
                      </a: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9512453"/>
                  </a:ext>
                </a:extLst>
              </a:tr>
              <a:tr h="843036"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АО "ОКБ КП"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оизводство </a:t>
                      </a:r>
                      <a:r>
                        <a:rPr lang="ru-RU" sz="2000" b="0" dirty="0" err="1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ысокоимпульсного</a:t>
                      </a:r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кабеля</a:t>
                      </a: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438803"/>
                  </a:ext>
                </a:extLst>
              </a:tr>
              <a:tr h="843036"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ОО «Международная алюминиевая компания»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оизводство алюминиевых профилей</a:t>
                      </a: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40210"/>
                  </a:ext>
                </a:extLst>
              </a:tr>
              <a:tr h="843036"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АО "ГЕОРГ ПОЛИМЕР"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оизводство </a:t>
                      </a:r>
                      <a:r>
                        <a:rPr lang="ru-RU" sz="2000" b="0" dirty="0" err="1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биоразлогаемой</a:t>
                      </a:r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пищевой упаковки</a:t>
                      </a: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2774069"/>
                  </a:ext>
                </a:extLst>
              </a:tr>
              <a:tr h="843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753923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1507846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2261768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3015691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3769614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4523537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527746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6031382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ОО Технопарк «Импульс»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оизводство комплектующих для строительной техники</a:t>
                      </a: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267284"/>
                  </a:ext>
                </a:extLst>
              </a:tr>
              <a:tr h="843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1pPr>
                      <a:lvl2pPr marL="753923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2pPr>
                      <a:lvl3pPr marL="1507846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3pPr>
                      <a:lvl4pPr marL="2261768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4pPr>
                      <a:lvl5pPr marL="3015691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5pPr>
                      <a:lvl6pPr marL="3769614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6pPr>
                      <a:lvl7pPr marL="4523537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7pPr>
                      <a:lvl8pPr marL="5277460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8pPr>
                      <a:lvl9pPr marL="6031382" algn="l" defTabSz="1507846" rtl="0" eaLnBrk="1" latinLnBrk="0" hangingPunct="1">
                        <a:defRPr sz="2968" kern="1200">
                          <a:solidFill>
                            <a:schemeClr val="dk1"/>
                          </a:solidFill>
                          <a:latin typeface="VTB Group Book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ОО «ТРЕЙЛЕР»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Локализация производства элементов подвески </a:t>
                      </a: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0701909"/>
                  </a:ext>
                </a:extLst>
              </a:tr>
              <a:tr h="843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ОО «ЗАВОД ЭЛ. МАТЕРИАЛОВ «ЭЛИНАР»</a:t>
                      </a:r>
                    </a:p>
                  </a:txBody>
                  <a:tcPr marL="237450" marR="59363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оизводство систем изоляции электрических машин и кабелей </a:t>
                      </a:r>
                    </a:p>
                  </a:txBody>
                  <a:tcPr marL="59363" marR="118725" marT="59363" marB="77171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17906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3379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5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1A2DEA-0812-41F9-88C5-48F7F643210D}" type="slidenum">
              <a:rPr lang="ru-RU" smtClean="0"/>
              <a:t>12</a:t>
            </a:fld>
            <a:endParaRPr lang="ru-RU"/>
          </a:p>
        </p:txBody>
      </p:sp>
      <p:sp>
        <p:nvSpPr>
          <p:cNvPr id="1048676" name="Заголовок 3"/>
          <p:cNvSpPr>
            <a:spLocks noGrp="1"/>
          </p:cNvSpPr>
          <p:nvPr>
            <p:ph type="title"/>
          </p:nvPr>
        </p:nvSpPr>
        <p:spPr>
          <a:xfrm>
            <a:off x="850763" y="295265"/>
            <a:ext cx="17535704" cy="677108"/>
          </a:xfr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ЙТИНГ МУНИЦИПАЛИТЕТОВ</a:t>
            </a:r>
            <a:endParaRPr lang="ru-RU" sz="4400" dirty="0">
              <a:solidFill>
                <a:srgbClr val="002060"/>
              </a:solidFill>
            </a:endParaRPr>
          </a:p>
        </p:txBody>
      </p:sp>
      <p:graphicFrame>
        <p:nvGraphicFramePr>
          <p:cNvPr id="4194306" name="object 7"/>
          <p:cNvGraphicFramePr>
            <a:graphicFrameLocks noGrp="1"/>
          </p:cNvGraphicFramePr>
          <p:nvPr/>
        </p:nvGraphicFramePr>
        <p:xfrm>
          <a:off x="1517650" y="3725298"/>
          <a:ext cx="4876800" cy="37391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98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0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62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5"/>
                        </a:spcBef>
                      </a:pPr>
                      <a:r>
                        <a:rPr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1</a:t>
                      </a:r>
                    </a:p>
                  </a:txBody>
                  <a:tcPr marL="0" marR="0" marT="4823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5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Подольск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823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5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3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823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Сергиев-Посад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3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9898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3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Электросталь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938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7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3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4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1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Мытищи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3767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5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1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Ленинский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0640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6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1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Истра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7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Балашиха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48677" name="object 8"/>
          <p:cNvSpPr/>
          <p:nvPr/>
        </p:nvSpPr>
        <p:spPr>
          <a:xfrm>
            <a:off x="1517650" y="2740022"/>
            <a:ext cx="4876800" cy="909076"/>
          </a:xfrm>
          <a:custGeom>
            <a:avLst/>
            <a:gdLst/>
            <a:ahLst/>
            <a:cxnLst/>
            <a:rect l="l" t="t" r="r" b="b"/>
            <a:pathLst>
              <a:path w="2611755" h="238759">
                <a:moveTo>
                  <a:pt x="2572042" y="0"/>
                </a:moveTo>
                <a:lnTo>
                  <a:pt x="39738" y="0"/>
                </a:lnTo>
                <a:lnTo>
                  <a:pt x="24270" y="3121"/>
                </a:lnTo>
                <a:lnTo>
                  <a:pt x="11639" y="11636"/>
                </a:lnTo>
                <a:lnTo>
                  <a:pt x="3123" y="24270"/>
                </a:lnTo>
                <a:lnTo>
                  <a:pt x="0" y="39750"/>
                </a:lnTo>
                <a:lnTo>
                  <a:pt x="0" y="198627"/>
                </a:lnTo>
                <a:lnTo>
                  <a:pt x="3123" y="214108"/>
                </a:lnTo>
                <a:lnTo>
                  <a:pt x="11639" y="226742"/>
                </a:lnTo>
                <a:lnTo>
                  <a:pt x="24270" y="235257"/>
                </a:lnTo>
                <a:lnTo>
                  <a:pt x="39738" y="238378"/>
                </a:lnTo>
                <a:lnTo>
                  <a:pt x="2572042" y="238378"/>
                </a:lnTo>
                <a:lnTo>
                  <a:pt x="2587448" y="235257"/>
                </a:lnTo>
                <a:lnTo>
                  <a:pt x="2600045" y="226742"/>
                </a:lnTo>
                <a:lnTo>
                  <a:pt x="2608546" y="214108"/>
                </a:lnTo>
                <a:lnTo>
                  <a:pt x="2611666" y="198627"/>
                </a:lnTo>
                <a:lnTo>
                  <a:pt x="2611666" y="39750"/>
                </a:lnTo>
                <a:lnTo>
                  <a:pt x="2608546" y="24270"/>
                </a:lnTo>
                <a:lnTo>
                  <a:pt x="2600045" y="11636"/>
                </a:lnTo>
                <a:lnTo>
                  <a:pt x="2587448" y="3121"/>
                </a:lnTo>
                <a:lnTo>
                  <a:pt x="2572042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Лидеры по </a:t>
            </a:r>
          </a:p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реализованным проектам</a:t>
            </a:r>
            <a:endParaRPr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194307" name="objec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132724"/>
              </p:ext>
            </p:extLst>
          </p:nvPr>
        </p:nvGraphicFramePr>
        <p:xfrm>
          <a:off x="7385050" y="3725299"/>
          <a:ext cx="4876800" cy="37463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98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0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62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5"/>
                        </a:spcBef>
                      </a:pPr>
                      <a:r>
                        <a:rPr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1</a:t>
                      </a:r>
                    </a:p>
                  </a:txBody>
                  <a:tcPr marL="0" marR="0" marT="4823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5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Подольск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823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5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9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823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Богородский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4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3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EBEBE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Мытищи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105410" algn="ctr" defTabSz="1507846" rtl="0" eaLnBrk="1" latinLnBrk="0" hangingPunct="1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kern="1200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3</a:t>
                      </a:r>
                      <a:endParaRPr sz="2400" b="1" kern="1200" spc="-5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8158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4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EBEBE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1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Серпухов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EBEBE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3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EBEBE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0376634"/>
                  </a:ext>
                </a:extLst>
              </a:tr>
              <a:tr h="529898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5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Бронницы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938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7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155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6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1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Лосино-Петровский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0640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7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Электросталь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chemeClr val="accent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 dirty="0">
                        <a:solidFill>
                          <a:schemeClr val="accent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48678" name="object 8"/>
          <p:cNvSpPr/>
          <p:nvPr/>
        </p:nvSpPr>
        <p:spPr>
          <a:xfrm>
            <a:off x="7385050" y="2740022"/>
            <a:ext cx="4876800" cy="909076"/>
          </a:xfrm>
          <a:custGeom>
            <a:avLst/>
            <a:gdLst/>
            <a:ahLst/>
            <a:cxnLst/>
            <a:rect l="l" t="t" r="r" b="b"/>
            <a:pathLst>
              <a:path w="2611755" h="238759">
                <a:moveTo>
                  <a:pt x="2572042" y="0"/>
                </a:moveTo>
                <a:lnTo>
                  <a:pt x="39738" y="0"/>
                </a:lnTo>
                <a:lnTo>
                  <a:pt x="24270" y="3121"/>
                </a:lnTo>
                <a:lnTo>
                  <a:pt x="11639" y="11636"/>
                </a:lnTo>
                <a:lnTo>
                  <a:pt x="3123" y="24270"/>
                </a:lnTo>
                <a:lnTo>
                  <a:pt x="0" y="39750"/>
                </a:lnTo>
                <a:lnTo>
                  <a:pt x="0" y="198627"/>
                </a:lnTo>
                <a:lnTo>
                  <a:pt x="3123" y="214108"/>
                </a:lnTo>
                <a:lnTo>
                  <a:pt x="11639" y="226742"/>
                </a:lnTo>
                <a:lnTo>
                  <a:pt x="24270" y="235257"/>
                </a:lnTo>
                <a:lnTo>
                  <a:pt x="39738" y="238378"/>
                </a:lnTo>
                <a:lnTo>
                  <a:pt x="2572042" y="238378"/>
                </a:lnTo>
                <a:lnTo>
                  <a:pt x="2587448" y="235257"/>
                </a:lnTo>
                <a:lnTo>
                  <a:pt x="2600045" y="226742"/>
                </a:lnTo>
                <a:lnTo>
                  <a:pt x="2608546" y="214108"/>
                </a:lnTo>
                <a:lnTo>
                  <a:pt x="2611666" y="198627"/>
                </a:lnTo>
                <a:lnTo>
                  <a:pt x="2611666" y="39750"/>
                </a:lnTo>
                <a:lnTo>
                  <a:pt x="2608546" y="24270"/>
                </a:lnTo>
                <a:lnTo>
                  <a:pt x="2600045" y="11636"/>
                </a:lnTo>
                <a:lnTo>
                  <a:pt x="2587448" y="3121"/>
                </a:lnTo>
                <a:lnTo>
                  <a:pt x="2572042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Лидеры по </a:t>
            </a:r>
          </a:p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явкам в работе</a:t>
            </a:r>
            <a:endParaRPr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194308" name="objec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5568013"/>
              </p:ext>
            </p:extLst>
          </p:nvPr>
        </p:nvGraphicFramePr>
        <p:xfrm>
          <a:off x="13176250" y="3725297"/>
          <a:ext cx="4876800" cy="37021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98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0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62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5"/>
                        </a:spcBef>
                      </a:pPr>
                      <a:r>
                        <a:rPr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1</a:t>
                      </a:r>
                    </a:p>
                  </a:txBody>
                  <a:tcPr marL="0" marR="0" marT="4823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5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Красногорск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823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5"/>
                        </a:spcBef>
                      </a:pPr>
                      <a:r>
                        <a:rPr lang="ru-RU" sz="2400" b="1" spc="-5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0</a:t>
                      </a:r>
                      <a:endParaRPr sz="2400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823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2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Щелково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0</a:t>
                      </a:r>
                      <a:endParaRPr sz="2400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9898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3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Раменский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938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75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0</a:t>
                      </a:r>
                      <a:endParaRPr sz="2400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2400" dirty="0">
                          <a:solidFill>
                            <a:srgbClr val="17161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4</a:t>
                      </a:r>
                      <a:endParaRPr sz="240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spc="-15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Королев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spc="-5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0</a:t>
                      </a:r>
                      <a:endParaRPr sz="2400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5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Ступино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0</a:t>
                      </a:r>
                      <a:endParaRPr sz="2400" b="1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5386270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6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Дзержинский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0</a:t>
                      </a:r>
                      <a:endParaRPr sz="2400" b="1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8801738"/>
                  </a:ext>
                </a:extLst>
              </a:tr>
              <a:tr h="5287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7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112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Дубна</a:t>
                      </a:r>
                      <a:endParaRPr sz="2400" dirty="0"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05410" algn="ct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/>
                        </a:rPr>
                        <a:t>0</a:t>
                      </a:r>
                      <a:endParaRPr sz="2400" b="1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/>
                      </a:endParaRPr>
                    </a:p>
                  </a:txBody>
                  <a:tcPr marL="0" marR="0" marT="49304" marB="0">
                    <a:lnT w="12700">
                      <a:solidFill>
                        <a:srgbClr val="BEBEBE"/>
                      </a:solidFill>
                      <a:prstDash val="solid"/>
                    </a:lnT>
                    <a:lnB w="12700">
                      <a:solidFill>
                        <a:srgbClr val="BEBEBE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346792"/>
                  </a:ext>
                </a:extLst>
              </a:tr>
            </a:tbl>
          </a:graphicData>
        </a:graphic>
      </p:graphicFrame>
      <p:sp>
        <p:nvSpPr>
          <p:cNvPr id="1048679" name="object 8"/>
          <p:cNvSpPr/>
          <p:nvPr/>
        </p:nvSpPr>
        <p:spPr>
          <a:xfrm>
            <a:off x="13176250" y="2740022"/>
            <a:ext cx="4876800" cy="909076"/>
          </a:xfrm>
          <a:custGeom>
            <a:avLst/>
            <a:gdLst/>
            <a:ahLst/>
            <a:cxnLst/>
            <a:rect l="l" t="t" r="r" b="b"/>
            <a:pathLst>
              <a:path w="2611755" h="238759">
                <a:moveTo>
                  <a:pt x="2572042" y="0"/>
                </a:moveTo>
                <a:lnTo>
                  <a:pt x="39738" y="0"/>
                </a:lnTo>
                <a:lnTo>
                  <a:pt x="24270" y="3121"/>
                </a:lnTo>
                <a:lnTo>
                  <a:pt x="11639" y="11636"/>
                </a:lnTo>
                <a:lnTo>
                  <a:pt x="3123" y="24270"/>
                </a:lnTo>
                <a:lnTo>
                  <a:pt x="0" y="39750"/>
                </a:lnTo>
                <a:lnTo>
                  <a:pt x="0" y="198627"/>
                </a:lnTo>
                <a:lnTo>
                  <a:pt x="3123" y="214108"/>
                </a:lnTo>
                <a:lnTo>
                  <a:pt x="11639" y="226742"/>
                </a:lnTo>
                <a:lnTo>
                  <a:pt x="24270" y="235257"/>
                </a:lnTo>
                <a:lnTo>
                  <a:pt x="39738" y="238378"/>
                </a:lnTo>
                <a:lnTo>
                  <a:pt x="2572042" y="238378"/>
                </a:lnTo>
                <a:lnTo>
                  <a:pt x="2587448" y="235257"/>
                </a:lnTo>
                <a:lnTo>
                  <a:pt x="2600045" y="226742"/>
                </a:lnTo>
                <a:lnTo>
                  <a:pt x="2608546" y="214108"/>
                </a:lnTo>
                <a:lnTo>
                  <a:pt x="2611666" y="198627"/>
                </a:lnTo>
                <a:lnTo>
                  <a:pt x="2611666" y="39750"/>
                </a:lnTo>
                <a:lnTo>
                  <a:pt x="2608546" y="24270"/>
                </a:lnTo>
                <a:lnTo>
                  <a:pt x="2600045" y="11636"/>
                </a:lnTo>
                <a:lnTo>
                  <a:pt x="2587448" y="3121"/>
                </a:lnTo>
                <a:lnTo>
                  <a:pt x="2572042" y="0"/>
                </a:lnTo>
                <a:close/>
              </a:path>
            </a:pathLst>
          </a:custGeom>
          <a:solidFill>
            <a:srgbClr val="FF9999"/>
          </a:solidFill>
        </p:spPr>
        <p:txBody>
          <a:bodyPr wrap="square" lIns="0" tIns="0" rIns="0" bIns="0" rtlCol="0" anchor="ctr"/>
          <a:lstStyle/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 Отстающие по </a:t>
            </a:r>
          </a:p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явкам в работе*</a:t>
            </a:r>
            <a:endParaRPr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48680" name="TextBox 36"/>
          <p:cNvSpPr txBox="1"/>
          <p:nvPr/>
        </p:nvSpPr>
        <p:spPr>
          <a:xfrm>
            <a:off x="1517650" y="10744009"/>
            <a:ext cx="13441934" cy="551090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 defTabSz="1507846"/>
            <a:r>
              <a:rPr lang="ru-RU" sz="24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Муниципалитеты с большим количеством компаний, подходящими по критериям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1" name="object 3"/>
          <p:cNvSpPr txBox="1"/>
          <p:nvPr/>
        </p:nvSpPr>
        <p:spPr>
          <a:xfrm>
            <a:off x="850755" y="2131211"/>
            <a:ext cx="17049895" cy="661399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12065" rIns="0" bIns="0" rtlCol="0">
            <a:spAutoFit/>
          </a:bodyPr>
          <a:lstStyle/>
          <a:p>
            <a:pPr marL="755650" marR="573405" indent="-742950">
              <a:spcBef>
                <a:spcPts val="1800"/>
              </a:spcBef>
              <a:buFontTx/>
              <a:buAutoNum type="arabicPeriod"/>
            </a:pPr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пустить</a:t>
            </a:r>
            <a:r>
              <a:rPr lang="ru-RU" sz="3200" b="1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совместную программу с корпоративным университетом Сбербанка</a:t>
            </a:r>
          </a:p>
          <a:p>
            <a:pPr marL="769938" marR="573405"/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Отв.: </a:t>
            </a:r>
            <a:r>
              <a:rPr lang="ru-RU" sz="3200" spc="5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ининвест</a:t>
            </a:r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Срок: 01.07.2022)</a:t>
            </a:r>
          </a:p>
          <a:p>
            <a:pPr marL="755650" marR="573405" indent="-742950">
              <a:spcBef>
                <a:spcPts val="1800"/>
              </a:spcBef>
              <a:buFont typeface="+mj-lt"/>
              <a:buAutoNum type="arabicPeriod" startAt="2"/>
            </a:pPr>
            <a:r>
              <a:rPr lang="ru-RU" sz="3200" b="1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лавам довести информацию о возможностях нац. проекта до бизнеса</a:t>
            </a:r>
          </a:p>
          <a:p>
            <a:pPr marL="728663" marR="573405"/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Отв.: Главы ОМСУ. Срок: 07.06.2022)</a:t>
            </a:r>
          </a:p>
          <a:p>
            <a:pPr marL="755650" marR="573405" indent="-742950">
              <a:spcBef>
                <a:spcPts val="1800"/>
              </a:spcBef>
              <a:buFont typeface="+mj-lt"/>
              <a:buAutoNum type="arabicPeriod" startAt="3"/>
            </a:pPr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пуск </a:t>
            </a:r>
            <a:r>
              <a:rPr lang="ru-RU" sz="3200" b="1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ц. проекта на предприятиях</a:t>
            </a:r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реализующих проекты </a:t>
            </a:r>
            <a:r>
              <a:rPr lang="ru-RU" sz="3200" b="1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мпортозамещения</a:t>
            </a:r>
          </a:p>
          <a:p>
            <a:pPr marL="728663" marR="573405"/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Отв.: </a:t>
            </a:r>
            <a:r>
              <a:rPr lang="ru-RU" sz="3200" spc="5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ининвест</a:t>
            </a:r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Срок: 01.07.2022)</a:t>
            </a:r>
            <a:endParaRPr lang="ru-RU" sz="3200" b="1" spc="5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55650" marR="573405" indent="-742950">
              <a:spcBef>
                <a:spcPts val="1800"/>
              </a:spcBef>
              <a:buAutoNum type="arabicPeriod" startAt="3"/>
            </a:pPr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нести в Минэкономразвития РФ предложения о расширении </a:t>
            </a:r>
            <a:r>
              <a:rPr lang="ru-RU" sz="3200" b="1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ц. проекта на ЖКХ, медицину, образование, социальную сферу</a:t>
            </a:r>
          </a:p>
          <a:p>
            <a:pPr marL="769938" marR="573405"/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Отв.: </a:t>
            </a:r>
            <a:r>
              <a:rPr lang="ru-RU" sz="3200" spc="5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ининвест</a:t>
            </a:r>
            <a:r>
              <a:rPr lang="ru-RU" sz="32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Срок: 10.06.2022)</a:t>
            </a:r>
            <a:endParaRPr lang="ru-RU" sz="3200" b="1" spc="5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8682" name="Заголовок 4"/>
          <p:cNvSpPr>
            <a:spLocks noGrp="1"/>
          </p:cNvSpPr>
          <p:nvPr>
            <p:ph type="title"/>
          </p:nvPr>
        </p:nvSpPr>
        <p:spPr>
          <a:xfrm>
            <a:off x="850762" y="295265"/>
            <a:ext cx="16592687" cy="677108"/>
          </a:xfr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ДЛОЖЕНИЯ</a:t>
            </a:r>
            <a:endParaRPr lang="ru-RU" sz="4400" dirty="0"/>
          </a:p>
        </p:txBody>
      </p:sp>
      <p:sp>
        <p:nvSpPr>
          <p:cNvPr id="1048683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1A2DEA-0812-41F9-88C5-48F7F643210D}" type="slidenum">
              <a:rPr lang="ru-RU" smtClean="0"/>
              <a:t>13</a:t>
            </a:fld>
            <a:endParaRPr lang="ru-RU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4" name="object 2"/>
          <p:cNvSpPr txBox="1">
            <a:spLocks noGrp="1"/>
          </p:cNvSpPr>
          <p:nvPr>
            <p:ph type="title"/>
          </p:nvPr>
        </p:nvSpPr>
        <p:spPr>
          <a:xfrm>
            <a:off x="3346450" y="5432107"/>
            <a:ext cx="13411200" cy="711836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 algn="ctr">
              <a:lnSpc>
                <a:spcPts val="5530"/>
              </a:lnSpc>
              <a:spcBef>
                <a:spcPts val="105"/>
              </a:spcBef>
              <a:tabLst>
                <a:tab pos="7305040" algn="l"/>
              </a:tabLst>
            </a:pPr>
            <a:r>
              <a:rPr lang="ru-RU" sz="485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МЕРЫ РЕАЛИЗОВАННЫХ ПРОЕКТОВ</a:t>
            </a:r>
            <a:endParaRPr lang="ru-RU" sz="48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97168" name="object 3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919450" y="8150225"/>
            <a:ext cx="4001579" cy="3175720"/>
          </a:xfrm>
          <a:prstGeom prst="rect">
            <a:avLst/>
          </a:prstGeom>
        </p:spPr>
      </p:pic>
      <p:pic>
        <p:nvPicPr>
          <p:cNvPr id="2097169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11150" y="-307975"/>
            <a:ext cx="5910076" cy="4552876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5" name="Заголовок 4"/>
          <p:cNvSpPr>
            <a:spLocks noGrp="1"/>
          </p:cNvSpPr>
          <p:nvPr>
            <p:ph type="title"/>
          </p:nvPr>
        </p:nvSpPr>
        <p:spPr>
          <a:xfrm>
            <a:off x="850762" y="295265"/>
            <a:ext cx="16592687" cy="677108"/>
          </a:xfr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ДЕСЯТОЕ КОРОЛЕВСТВО» </a:t>
            </a:r>
            <a:r>
              <a:rPr lang="ru-RU" sz="32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Шаховская)</a:t>
            </a:r>
            <a:endParaRPr lang="ru-RU" sz="4400" dirty="0"/>
          </a:p>
        </p:txBody>
      </p:sp>
      <p:sp>
        <p:nvSpPr>
          <p:cNvPr id="1048686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1A2DEA-0812-41F9-88C5-48F7F643210D}" type="slidenum">
              <a:rPr lang="ru-RU" smtClean="0"/>
              <a:t>15</a:t>
            </a:fld>
            <a:endParaRPr lang="ru-RU"/>
          </a:p>
        </p:txBody>
      </p:sp>
      <p:cxnSp>
        <p:nvCxnSpPr>
          <p:cNvPr id="3145731" name="Прямая соединительная линия 15"/>
          <p:cNvCxnSpPr>
            <a:cxnSpLocks/>
          </p:cNvCxnSpPr>
          <p:nvPr/>
        </p:nvCxnSpPr>
        <p:spPr>
          <a:xfrm>
            <a:off x="954127" y="1901825"/>
            <a:ext cx="185211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32" name="Прямая соединительная линия 17"/>
          <p:cNvCxnSpPr>
            <a:cxnSpLocks/>
          </p:cNvCxnSpPr>
          <p:nvPr/>
        </p:nvCxnSpPr>
        <p:spPr>
          <a:xfrm>
            <a:off x="954127" y="2970680"/>
            <a:ext cx="185211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687" name="Текст 25"/>
          <p:cNvSpPr txBox="1"/>
          <p:nvPr/>
        </p:nvSpPr>
        <p:spPr>
          <a:xfrm>
            <a:off x="3575050" y="1942987"/>
            <a:ext cx="16141297" cy="98232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968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тимизация процесса изготовления игры </a:t>
            </a:r>
            <a:r>
              <a:rPr lang="ru-RU" sz="28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Русское лото»</a:t>
            </a:r>
          </a:p>
        </p:txBody>
      </p:sp>
      <p:sp>
        <p:nvSpPr>
          <p:cNvPr id="1048688" name="Прямоугольник 26"/>
          <p:cNvSpPr/>
          <p:nvPr>
            <p:custDataLst>
              <p:tags r:id="rId1"/>
            </p:custDataLst>
          </p:nvPr>
        </p:nvSpPr>
        <p:spPr>
          <a:xfrm>
            <a:off x="954130" y="1942988"/>
            <a:ext cx="2620920" cy="8026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ализованный проект:</a:t>
            </a:r>
          </a:p>
        </p:txBody>
      </p:sp>
      <p:sp>
        <p:nvSpPr>
          <p:cNvPr id="1048690" name="Прямоугольник 28"/>
          <p:cNvSpPr/>
          <p:nvPr>
            <p:custDataLst>
              <p:tags r:id="rId2"/>
            </p:custDataLst>
          </p:nvPr>
        </p:nvSpPr>
        <p:spPr>
          <a:xfrm>
            <a:off x="819324" y="3699417"/>
            <a:ext cx="5136530" cy="44704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195458" defTabSz="2010411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новной результат:</a:t>
            </a:r>
          </a:p>
        </p:txBody>
      </p:sp>
      <p:sp>
        <p:nvSpPr>
          <p:cNvPr id="1048692" name="Текст 31"/>
          <p:cNvSpPr txBox="1"/>
          <p:nvPr/>
        </p:nvSpPr>
        <p:spPr>
          <a:xfrm>
            <a:off x="840664" y="4450241"/>
            <a:ext cx="5192317" cy="1938992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2474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мпания </a:t>
            </a:r>
            <a:r>
              <a:rPr lang="ru-RU" sz="24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высила выработку на одного работающего</a:t>
            </a:r>
          </a:p>
          <a:p>
            <a:r>
              <a:rPr lang="ru-RU" sz="24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488 изделий в месяц до 1538</a:t>
            </a:r>
          </a:p>
        </p:txBody>
      </p:sp>
      <p:sp>
        <p:nvSpPr>
          <p:cNvPr id="1048693" name="Текст 35"/>
          <p:cNvSpPr txBox="1"/>
          <p:nvPr/>
        </p:nvSpPr>
        <p:spPr>
          <a:xfrm>
            <a:off x="679450" y="7163336"/>
            <a:ext cx="6323275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439788" indent="-439788">
              <a:buClr>
                <a:srgbClr val="0070C0"/>
              </a:buClr>
              <a:buFont typeface="+mj-lt"/>
              <a:buAutoNum type="arabicPeriod"/>
              <a:defRPr sz="2474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tx1"/>
              </a:buClr>
              <a:buNone/>
            </a:pPr>
            <a:r>
              <a:rPr lang="ru-RU" sz="24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низили расстояние внутрицеховых перемещений 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ru-RU" sz="24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2195 до 88 метров</a:t>
            </a:r>
          </a:p>
        </p:txBody>
      </p:sp>
      <p:graphicFrame>
        <p:nvGraphicFramePr>
          <p:cNvPr id="4194309" name="Диаграмма 41"/>
          <p:cNvGraphicFramePr>
            <a:graphicFrameLocks/>
          </p:cNvGraphicFramePr>
          <p:nvPr/>
        </p:nvGraphicFramePr>
        <p:xfrm>
          <a:off x="13695915" y="4183777"/>
          <a:ext cx="5947465" cy="1829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097170" name="Picture 2"/>
          <p:cNvPicPr>
            <a:picLocks noChangeAspect="1" noChangeArrowheads="1"/>
          </p:cNvPicPr>
          <p:nvPr/>
        </p:nvPicPr>
        <p:blipFill rotWithShape="1">
          <a:blip r:embed="rId5"/>
          <a:srcRect r="22164"/>
          <a:stretch>
            <a:fillRect/>
          </a:stretch>
        </p:blipFill>
        <p:spPr bwMode="auto">
          <a:xfrm>
            <a:off x="14134634" y="3391082"/>
            <a:ext cx="5224279" cy="3775463"/>
          </a:xfrm>
          <a:prstGeom prst="rect">
            <a:avLst/>
          </a:prstGeom>
          <a:noFill/>
        </p:spPr>
      </p:pic>
      <p:sp>
        <p:nvSpPr>
          <p:cNvPr id="1048710" name="Текст 23"/>
          <p:cNvSpPr txBox="1"/>
          <p:nvPr/>
        </p:nvSpPr>
        <p:spPr>
          <a:xfrm>
            <a:off x="952851" y="1009110"/>
            <a:ext cx="12852797" cy="1090986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spcBef>
                <a:spcPts val="0"/>
              </a:spcBef>
              <a:buNone/>
              <a:defRPr sz="2968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8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изводство развивающих игр и игрушек для детей</a:t>
            </a:r>
          </a:p>
        </p:txBody>
      </p:sp>
      <p:pic>
        <p:nvPicPr>
          <p:cNvPr id="2097171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38975" y="3328796"/>
            <a:ext cx="4612538" cy="2491758"/>
          </a:xfrm>
          <a:prstGeom prst="rect">
            <a:avLst/>
          </a:prstGeom>
          <a:noFill/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C1A6D3C-481E-E250-1510-66A64DD51D6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9250" y="7342990"/>
            <a:ext cx="3421454" cy="377546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7183123-835F-C1C9-5D08-9E4691EFE4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9224" y="7649082"/>
            <a:ext cx="4042899" cy="300154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BF4502E-AD78-4F5A-A49A-3E6E7FABE6B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586" y="6113611"/>
            <a:ext cx="3779599" cy="3582972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72" name="Рисунок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60413" y="3234723"/>
            <a:ext cx="8414814" cy="6309283"/>
          </a:xfrm>
          <a:prstGeom prst="rect">
            <a:avLst/>
          </a:prstGeom>
        </p:spPr>
      </p:pic>
      <p:sp>
        <p:nvSpPr>
          <p:cNvPr id="1048711" name="Заголовок 4"/>
          <p:cNvSpPr>
            <a:spLocks noGrp="1"/>
          </p:cNvSpPr>
          <p:nvPr>
            <p:ph type="title"/>
          </p:nvPr>
        </p:nvSpPr>
        <p:spPr>
          <a:xfrm>
            <a:off x="850762" y="295265"/>
            <a:ext cx="16592687" cy="677108"/>
          </a:xfr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АРХИМЕД» </a:t>
            </a:r>
            <a:r>
              <a:rPr lang="ru-RU" sz="32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пос. </a:t>
            </a:r>
            <a:r>
              <a:rPr lang="ru-RU" sz="3200" b="1" kern="0" spc="-5" dirty="0" err="1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иокомбината</a:t>
            </a:r>
            <a:r>
              <a:rPr lang="ru-RU" sz="32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ru-RU" sz="4400" dirty="0"/>
          </a:p>
        </p:txBody>
      </p:sp>
      <p:sp>
        <p:nvSpPr>
          <p:cNvPr id="104871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1A2DEA-0812-41F9-88C5-48F7F643210D}" type="slidenum">
              <a:rPr lang="ru-RU" smtClean="0"/>
              <a:t>16</a:t>
            </a:fld>
            <a:endParaRPr lang="ru-RU"/>
          </a:p>
        </p:txBody>
      </p:sp>
      <p:cxnSp>
        <p:nvCxnSpPr>
          <p:cNvPr id="3145742" name="Прямая соединительная линия 15"/>
          <p:cNvCxnSpPr>
            <a:cxnSpLocks/>
          </p:cNvCxnSpPr>
          <p:nvPr/>
        </p:nvCxnSpPr>
        <p:spPr>
          <a:xfrm>
            <a:off x="954127" y="1901825"/>
            <a:ext cx="185211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3" name="Прямая соединительная линия 17"/>
          <p:cNvCxnSpPr>
            <a:cxnSpLocks/>
          </p:cNvCxnSpPr>
          <p:nvPr/>
        </p:nvCxnSpPr>
        <p:spPr>
          <a:xfrm>
            <a:off x="954127" y="2970680"/>
            <a:ext cx="185211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713" name="Текст 25"/>
          <p:cNvSpPr txBox="1"/>
          <p:nvPr/>
        </p:nvSpPr>
        <p:spPr>
          <a:xfrm>
            <a:off x="3575050" y="1942987"/>
            <a:ext cx="16141297" cy="98232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968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тимизация процесса выпуска многокомпонентного </a:t>
            </a:r>
            <a:r>
              <a:rPr lang="ru-RU" sz="28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бора «Фокус»</a:t>
            </a:r>
          </a:p>
        </p:txBody>
      </p:sp>
      <p:sp>
        <p:nvSpPr>
          <p:cNvPr id="1048714" name="Прямоугольник 26"/>
          <p:cNvSpPr/>
          <p:nvPr>
            <p:custDataLst>
              <p:tags r:id="rId1"/>
            </p:custDataLst>
          </p:nvPr>
        </p:nvSpPr>
        <p:spPr>
          <a:xfrm>
            <a:off x="954130" y="1942988"/>
            <a:ext cx="2620920" cy="8026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ализованный проект:</a:t>
            </a:r>
          </a:p>
        </p:txBody>
      </p:sp>
      <p:sp>
        <p:nvSpPr>
          <p:cNvPr id="1048716" name="Прямоугольник 28"/>
          <p:cNvSpPr/>
          <p:nvPr>
            <p:custDataLst>
              <p:tags r:id="rId2"/>
            </p:custDataLst>
          </p:nvPr>
        </p:nvSpPr>
        <p:spPr>
          <a:xfrm>
            <a:off x="1006785" y="3541866"/>
            <a:ext cx="5136530" cy="44704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195458" defTabSz="2010411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новной результат:</a:t>
            </a:r>
          </a:p>
        </p:txBody>
      </p:sp>
      <p:sp>
        <p:nvSpPr>
          <p:cNvPr id="1048718" name="Текст 31"/>
          <p:cNvSpPr txBox="1"/>
          <p:nvPr/>
        </p:nvSpPr>
        <p:spPr>
          <a:xfrm>
            <a:off x="1161674" y="4218364"/>
            <a:ext cx="5918576" cy="120032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2474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мпания </a:t>
            </a:r>
            <a:r>
              <a:rPr lang="ru-RU" sz="24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высила выработку </a:t>
            </a:r>
          </a:p>
          <a:p>
            <a:r>
              <a:rPr lang="ru-RU" sz="24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198 до 288 штук на одного человека в сутки</a:t>
            </a:r>
          </a:p>
        </p:txBody>
      </p:sp>
      <p:sp>
        <p:nvSpPr>
          <p:cNvPr id="1048719" name="Текст 35"/>
          <p:cNvSpPr txBox="1"/>
          <p:nvPr/>
        </p:nvSpPr>
        <p:spPr>
          <a:xfrm>
            <a:off x="850763" y="8005205"/>
            <a:ext cx="7549454" cy="19389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439788" indent="-439788">
              <a:buClr>
                <a:srgbClr val="0070C0"/>
              </a:buClr>
              <a:buFont typeface="+mj-lt"/>
              <a:buAutoNum type="arabicPeriod"/>
              <a:defRPr sz="2474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tx1"/>
              </a:buClr>
              <a:buNone/>
            </a:pPr>
            <a:r>
              <a:rPr lang="ru-RU" sz="24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кратили </a:t>
            </a:r>
            <a:r>
              <a:rPr lang="ru-RU" sz="24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ремя простоя </a:t>
            </a:r>
            <a:r>
              <a:rPr lang="ru-RU" sz="24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орудования</a:t>
            </a:r>
          </a:p>
          <a:p>
            <a:pPr marL="0" indent="0">
              <a:buClr>
                <a:schemeClr val="tx1"/>
              </a:buClr>
              <a:buNone/>
            </a:pPr>
            <a:endParaRPr lang="ru-RU" sz="2400" kern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Clr>
                <a:schemeClr val="tx1"/>
              </a:buClr>
              <a:buNone/>
            </a:pPr>
            <a:r>
              <a:rPr lang="ru-RU" sz="24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высили загрузку персонала за счет стандартизации и новой эргономики 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ru-RU" sz="24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чих мест</a:t>
            </a:r>
            <a:endParaRPr sz="2800" dirty="0"/>
          </a:p>
        </p:txBody>
      </p:sp>
      <p:sp>
        <p:nvSpPr>
          <p:cNvPr id="1048736" name="Текст 23"/>
          <p:cNvSpPr txBox="1"/>
          <p:nvPr/>
        </p:nvSpPr>
        <p:spPr>
          <a:xfrm>
            <a:off x="875641" y="948186"/>
            <a:ext cx="16141297" cy="1090986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spcBef>
                <a:spcPts val="0"/>
              </a:spcBef>
              <a:buNone/>
              <a:defRPr sz="2968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8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изводство пластиковых изделий для хранения, пластиковой мебели</a:t>
            </a:r>
          </a:p>
        </p:txBody>
      </p:sp>
      <p:pic>
        <p:nvPicPr>
          <p:cNvPr id="2097173" name="Picture 2" descr="Company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06785" y="5867792"/>
            <a:ext cx="6253162" cy="154399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93" name="TextBox 9"/>
          <p:cNvSpPr txBox="1"/>
          <p:nvPr/>
        </p:nvSpPr>
        <p:spPr>
          <a:xfrm>
            <a:off x="679450" y="8737158"/>
            <a:ext cx="9757450" cy="1841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73405">
              <a:lnSpc>
                <a:spcPct val="100299"/>
              </a:lnSpc>
              <a:spcBef>
                <a:spcPts val="95"/>
              </a:spcBef>
            </a:pPr>
            <a:r>
              <a:rPr lang="ru-RU" sz="2800" spc="5" dirty="0">
                <a:latin typeface="Verdana" panose="020B0604030504040204" pitchFamily="34" charset="0"/>
                <a:ea typeface="Verdana" panose="020B0604030504040204" pitchFamily="34" charset="0"/>
              </a:rPr>
              <a:t>создан</a:t>
            </a:r>
            <a:r>
              <a:rPr lang="ru-RU" sz="28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Региональный центр компетенций Московской области</a:t>
            </a:r>
          </a:p>
          <a:p>
            <a:pPr marL="12700" marR="573405">
              <a:lnSpc>
                <a:spcPct val="100299"/>
              </a:lnSpc>
              <a:spcBef>
                <a:spcPts val="95"/>
              </a:spcBef>
            </a:pPr>
            <a:r>
              <a:rPr lang="ru-RU" sz="28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 на предприятия МО привлекаются тренеры </a:t>
            </a:r>
          </a:p>
          <a:p>
            <a:pPr marL="12700" marR="573405">
              <a:lnSpc>
                <a:spcPct val="100299"/>
              </a:lnSpc>
              <a:spcBef>
                <a:spcPts val="95"/>
              </a:spcBef>
            </a:pPr>
            <a:r>
              <a:rPr lang="ru-RU" sz="28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Федерального центра компетенций</a:t>
            </a:r>
            <a:endParaRPr lang="ru-RU" sz="2800" spc="5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8594" name="TextBox 36"/>
          <p:cNvSpPr txBox="1"/>
          <p:nvPr/>
        </p:nvSpPr>
        <p:spPr>
          <a:xfrm>
            <a:off x="682244" y="5857460"/>
            <a:ext cx="9757451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73405" lvl="0" indent="0" algn="l" defTabSz="914400" rtl="0" eaLnBrk="1" fontAlgn="auto" latinLnBrk="0" hangingPunct="1">
              <a:lnSpc>
                <a:spcPct val="1002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ru-RU" sz="2800" i="0" u="none" strike="noStrike" kern="1200" cap="none" spc="5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ель - </a:t>
            </a:r>
            <a:r>
              <a:rPr kumimoji="0" lang="ru-RU" sz="2800" b="1" i="0" u="none" strike="noStrike" kern="1200" cap="none" spc="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еспечить рост производительности труда</a:t>
            </a:r>
            <a:r>
              <a:rPr kumimoji="0" lang="ru-RU" sz="2800" b="0" i="0" u="none" strike="noStrike" kern="1200" cap="none" spc="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28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средних и крупных предприятиях базовых несырьевых отраслей экономики </a:t>
            </a:r>
            <a:r>
              <a:rPr kumimoji="0" lang="ru-RU" sz="2800" b="1" i="0" u="none" strike="noStrike" kern="1200" cap="none" spc="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 ниже 5% ежегодно</a:t>
            </a:r>
            <a:r>
              <a:rPr kumimoji="0" lang="ru-RU" sz="28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8595" name="Номер слайда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507846"/>
            <a:fld id="{7E1A2DEA-0812-41F9-88C5-48F7F643210D}" type="slidenum">
              <a:rPr lang="ru-RU">
                <a:solidFill>
                  <a:prstClr val="white"/>
                </a:solidFill>
                <a:latin typeface="VTB Group Demi Bold"/>
              </a:rPr>
              <a:pPr defTabSz="1507846"/>
              <a:t>2</a:t>
            </a:fld>
            <a:endParaRPr lang="ru-RU">
              <a:solidFill>
                <a:prstClr val="white"/>
              </a:solidFill>
              <a:latin typeface="VTB Group Demi Bold"/>
            </a:endParaRPr>
          </a:p>
        </p:txBody>
      </p:sp>
      <p:sp>
        <p:nvSpPr>
          <p:cNvPr id="1048596" name="Заголовок 3"/>
          <p:cNvSpPr>
            <a:spLocks noGrp="1"/>
          </p:cNvSpPr>
          <p:nvPr>
            <p:ph type="title"/>
          </p:nvPr>
        </p:nvSpPr>
        <p:spPr>
          <a:xfrm>
            <a:off x="850762" y="295265"/>
            <a:ext cx="17811887" cy="1354217"/>
          </a:xfrm>
        </p:spPr>
        <p:txBody>
          <a:bodyPr/>
          <a:lstStyle/>
          <a:p>
            <a:r>
              <a:rPr lang="ru-RU" sz="4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ЦИОНАЛЬНЫЙ ПРОЕКТ </a:t>
            </a:r>
            <a:br>
              <a:rPr lang="ru-RU" sz="4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4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ПРОИЗВОДИТЕЛЬНОСТЬ ТРУДА»</a:t>
            </a:r>
            <a:endParaRPr lang="ru-RU" sz="4400" b="1" dirty="0"/>
          </a:p>
        </p:txBody>
      </p:sp>
      <p:sp>
        <p:nvSpPr>
          <p:cNvPr id="1048597" name="TextBox 48"/>
          <p:cNvSpPr txBox="1"/>
          <p:nvPr/>
        </p:nvSpPr>
        <p:spPr>
          <a:xfrm>
            <a:off x="856604" y="2474456"/>
            <a:ext cx="10871981" cy="2336194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 defTabSz="1507846"/>
            <a:r>
              <a:rPr lang="ru-RU" sz="28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циональный проект </a:t>
            </a:r>
          </a:p>
          <a:p>
            <a:pPr defTabSz="1507846"/>
            <a:r>
              <a:rPr lang="ru-RU" sz="28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каз Президента Российской Федерации</a:t>
            </a:r>
            <a:r>
              <a:rPr lang="ru-RU" sz="2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defTabSz="1507846"/>
            <a:r>
              <a:rPr lang="ru-RU" sz="2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«О национальных целях и стратегических задачах развития Российской Федерации на период </a:t>
            </a:r>
          </a:p>
          <a:p>
            <a:pPr defTabSz="1507846"/>
            <a:r>
              <a:rPr lang="ru-RU" sz="2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 2024 года»</a:t>
            </a:r>
          </a:p>
        </p:txBody>
      </p:sp>
      <p:cxnSp>
        <p:nvCxnSpPr>
          <p:cNvPr id="3145728" name="Прямая соединительная линия 103"/>
          <p:cNvCxnSpPr>
            <a:cxnSpLocks/>
          </p:cNvCxnSpPr>
          <p:nvPr/>
        </p:nvCxnSpPr>
        <p:spPr>
          <a:xfrm>
            <a:off x="935475" y="5102225"/>
            <a:ext cx="8278199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29" name="Прямая соединительная линия 106"/>
          <p:cNvCxnSpPr>
            <a:cxnSpLocks/>
          </p:cNvCxnSpPr>
          <p:nvPr/>
        </p:nvCxnSpPr>
        <p:spPr>
          <a:xfrm>
            <a:off x="933850" y="7882394"/>
            <a:ext cx="8280000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30" name="Прямая соединительная линия 108"/>
          <p:cNvCxnSpPr>
            <a:cxnSpLocks/>
          </p:cNvCxnSpPr>
          <p:nvPr/>
        </p:nvCxnSpPr>
        <p:spPr>
          <a:xfrm>
            <a:off x="895071" y="10664825"/>
            <a:ext cx="8280000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7" name="Прямоугольник 10"/>
          <p:cNvSpPr/>
          <p:nvPr/>
        </p:nvSpPr>
        <p:spPr>
          <a:xfrm>
            <a:off x="10245526" y="2130427"/>
            <a:ext cx="9007819" cy="861059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endParaRPr lang="ru-RU" sz="2968">
              <a:solidFill>
                <a:prstClr val="white"/>
              </a:solidFill>
              <a:latin typeface="VTB Group Book"/>
            </a:endParaRPr>
          </a:p>
        </p:txBody>
      </p:sp>
      <p:sp>
        <p:nvSpPr>
          <p:cNvPr id="1048603" name="Заголовок 4"/>
          <p:cNvSpPr>
            <a:spLocks noGrp="1"/>
          </p:cNvSpPr>
          <p:nvPr>
            <p:ph type="title"/>
          </p:nvPr>
        </p:nvSpPr>
        <p:spPr>
          <a:xfrm>
            <a:off x="850763" y="295265"/>
            <a:ext cx="15802800" cy="677108"/>
          </a:xfr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К</a:t>
            </a:r>
            <a:r>
              <a:rPr kumimoji="0" lang="ru-RU" sz="4400" b="1" i="0" u="none" strike="noStrike" kern="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СТАТЬ УЧАСТНИКОМ</a:t>
            </a:r>
            <a:endParaRPr lang="ru-RU" sz="4400" dirty="0"/>
          </a:p>
        </p:txBody>
      </p:sp>
      <p:sp>
        <p:nvSpPr>
          <p:cNvPr id="1048604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1A2DEA-0812-41F9-88C5-48F7F643210D}" type="slidenum">
              <a:rPr lang="ru-RU" smtClean="0"/>
              <a:t>3</a:t>
            </a:fld>
            <a:endParaRPr lang="ru-RU"/>
          </a:p>
        </p:txBody>
      </p:sp>
      <p:sp>
        <p:nvSpPr>
          <p:cNvPr id="1048605" name="Прямоугольник 8"/>
          <p:cNvSpPr/>
          <p:nvPr/>
        </p:nvSpPr>
        <p:spPr>
          <a:xfrm>
            <a:off x="850759" y="2130427"/>
            <a:ext cx="9007819" cy="861059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endParaRPr lang="ru-RU" sz="2968">
              <a:solidFill>
                <a:prstClr val="white"/>
              </a:solidFill>
              <a:latin typeface="VTB Group Book"/>
            </a:endParaRPr>
          </a:p>
        </p:txBody>
      </p:sp>
      <p:sp>
        <p:nvSpPr>
          <p:cNvPr id="1048606" name="Полилиния: фигура 9"/>
          <p:cNvSpPr/>
          <p:nvPr/>
        </p:nvSpPr>
        <p:spPr>
          <a:xfrm>
            <a:off x="850757" y="2130425"/>
            <a:ext cx="9007821" cy="876133"/>
          </a:xfrm>
          <a:custGeom>
            <a:avLst/>
            <a:gdLst>
              <a:gd name="connsiteX0" fmla="*/ 1494702 w 5462734"/>
              <a:gd name="connsiteY0" fmla="*/ 0 h 531325"/>
              <a:gd name="connsiteX1" fmla="*/ 3174088 w 5462734"/>
              <a:gd name="connsiteY1" fmla="*/ 0 h 531325"/>
              <a:gd name="connsiteX2" fmla="*/ 4471814 w 5462734"/>
              <a:gd name="connsiteY2" fmla="*/ 0 h 531325"/>
              <a:gd name="connsiteX3" fmla="*/ 5462734 w 5462734"/>
              <a:gd name="connsiteY3" fmla="*/ 0 h 531325"/>
              <a:gd name="connsiteX4" fmla="*/ 5268403 w 5462734"/>
              <a:gd name="connsiteY4" fmla="*/ 531325 h 531325"/>
              <a:gd name="connsiteX5" fmla="*/ 4471814 w 5462734"/>
              <a:gd name="connsiteY5" fmla="*/ 531325 h 531325"/>
              <a:gd name="connsiteX6" fmla="*/ 2979756 w 5462734"/>
              <a:gd name="connsiteY6" fmla="*/ 531325 h 531325"/>
              <a:gd name="connsiteX7" fmla="*/ 1989871 w 5462734"/>
              <a:gd name="connsiteY7" fmla="*/ 531325 h 531325"/>
              <a:gd name="connsiteX8" fmla="*/ 1494702 w 5462734"/>
              <a:gd name="connsiteY8" fmla="*/ 531325 h 531325"/>
              <a:gd name="connsiteX9" fmla="*/ 0 w 5462734"/>
              <a:gd name="connsiteY9" fmla="*/ 531325 h 531325"/>
              <a:gd name="connsiteX10" fmla="*/ 0 w 5462734"/>
              <a:gd name="connsiteY10" fmla="*/ 1 h 531325"/>
              <a:gd name="connsiteX11" fmla="*/ 1494702 w 5462734"/>
              <a:gd name="connsiteY11" fmla="*/ 1 h 531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62734" h="531325">
                <a:moveTo>
                  <a:pt x="1494702" y="0"/>
                </a:moveTo>
                <a:lnTo>
                  <a:pt x="3174088" y="0"/>
                </a:lnTo>
                <a:lnTo>
                  <a:pt x="4471814" y="0"/>
                </a:lnTo>
                <a:lnTo>
                  <a:pt x="5462734" y="0"/>
                </a:lnTo>
                <a:lnTo>
                  <a:pt x="5268403" y="531325"/>
                </a:lnTo>
                <a:lnTo>
                  <a:pt x="4471814" y="531325"/>
                </a:lnTo>
                <a:lnTo>
                  <a:pt x="2979756" y="531325"/>
                </a:lnTo>
                <a:lnTo>
                  <a:pt x="1989871" y="531325"/>
                </a:lnTo>
                <a:lnTo>
                  <a:pt x="1494702" y="531325"/>
                </a:lnTo>
                <a:lnTo>
                  <a:pt x="0" y="531325"/>
                </a:lnTo>
                <a:lnTo>
                  <a:pt x="0" y="1"/>
                </a:lnTo>
                <a:lnTo>
                  <a:pt x="1494702" y="1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6175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507846"/>
            <a:r>
              <a:rPr lang="ru-RU" sz="3298" dirty="0">
                <a:solidFill>
                  <a:srgbClr val="FFFFFF"/>
                </a:solidFill>
                <a:latin typeface="VTB Group Demi Bold"/>
              </a:rPr>
              <a:t>Основные критерии вступления  в проект</a:t>
            </a:r>
          </a:p>
        </p:txBody>
      </p:sp>
      <p:sp>
        <p:nvSpPr>
          <p:cNvPr id="1048608" name="Полилиния: фигура 11"/>
          <p:cNvSpPr/>
          <p:nvPr/>
        </p:nvSpPr>
        <p:spPr>
          <a:xfrm>
            <a:off x="10245521" y="2130425"/>
            <a:ext cx="9007821" cy="876133"/>
          </a:xfrm>
          <a:custGeom>
            <a:avLst/>
            <a:gdLst>
              <a:gd name="connsiteX0" fmla="*/ 1494702 w 5462734"/>
              <a:gd name="connsiteY0" fmla="*/ 0 h 531325"/>
              <a:gd name="connsiteX1" fmla="*/ 3174088 w 5462734"/>
              <a:gd name="connsiteY1" fmla="*/ 0 h 531325"/>
              <a:gd name="connsiteX2" fmla="*/ 4471814 w 5462734"/>
              <a:gd name="connsiteY2" fmla="*/ 0 h 531325"/>
              <a:gd name="connsiteX3" fmla="*/ 5462734 w 5462734"/>
              <a:gd name="connsiteY3" fmla="*/ 0 h 531325"/>
              <a:gd name="connsiteX4" fmla="*/ 5268403 w 5462734"/>
              <a:gd name="connsiteY4" fmla="*/ 531325 h 531325"/>
              <a:gd name="connsiteX5" fmla="*/ 4471814 w 5462734"/>
              <a:gd name="connsiteY5" fmla="*/ 531325 h 531325"/>
              <a:gd name="connsiteX6" fmla="*/ 2979756 w 5462734"/>
              <a:gd name="connsiteY6" fmla="*/ 531325 h 531325"/>
              <a:gd name="connsiteX7" fmla="*/ 1989871 w 5462734"/>
              <a:gd name="connsiteY7" fmla="*/ 531325 h 531325"/>
              <a:gd name="connsiteX8" fmla="*/ 1494702 w 5462734"/>
              <a:gd name="connsiteY8" fmla="*/ 531325 h 531325"/>
              <a:gd name="connsiteX9" fmla="*/ 0 w 5462734"/>
              <a:gd name="connsiteY9" fmla="*/ 531325 h 531325"/>
              <a:gd name="connsiteX10" fmla="*/ 0 w 5462734"/>
              <a:gd name="connsiteY10" fmla="*/ 1 h 531325"/>
              <a:gd name="connsiteX11" fmla="*/ 1494702 w 5462734"/>
              <a:gd name="connsiteY11" fmla="*/ 1 h 531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62734" h="531325">
                <a:moveTo>
                  <a:pt x="1494702" y="0"/>
                </a:moveTo>
                <a:lnTo>
                  <a:pt x="3174088" y="0"/>
                </a:lnTo>
                <a:lnTo>
                  <a:pt x="4471814" y="0"/>
                </a:lnTo>
                <a:lnTo>
                  <a:pt x="5462734" y="0"/>
                </a:lnTo>
                <a:lnTo>
                  <a:pt x="5268403" y="531325"/>
                </a:lnTo>
                <a:lnTo>
                  <a:pt x="4471814" y="531325"/>
                </a:lnTo>
                <a:lnTo>
                  <a:pt x="2979756" y="531325"/>
                </a:lnTo>
                <a:lnTo>
                  <a:pt x="1989871" y="531325"/>
                </a:lnTo>
                <a:lnTo>
                  <a:pt x="1494702" y="531325"/>
                </a:lnTo>
                <a:lnTo>
                  <a:pt x="0" y="531325"/>
                </a:lnTo>
                <a:lnTo>
                  <a:pt x="0" y="1"/>
                </a:lnTo>
                <a:lnTo>
                  <a:pt x="1494702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6175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507846"/>
            <a:r>
              <a:rPr lang="ru-RU" sz="3298" dirty="0">
                <a:solidFill>
                  <a:srgbClr val="FFFFFF"/>
                </a:solidFill>
                <a:latin typeface="VTB Group Demi Bold"/>
              </a:rPr>
              <a:t>Как стать участником  проекта</a:t>
            </a:r>
          </a:p>
        </p:txBody>
      </p:sp>
      <p:sp>
        <p:nvSpPr>
          <p:cNvPr id="1048609" name="TextBox 12"/>
          <p:cNvSpPr txBox="1"/>
          <p:nvPr/>
        </p:nvSpPr>
        <p:spPr>
          <a:xfrm>
            <a:off x="755650" y="3044825"/>
            <a:ext cx="9381484" cy="63709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indent="-742950">
              <a:buClr>
                <a:srgbClr val="002060"/>
              </a:buClr>
              <a:buFont typeface="+mj-lt"/>
              <a:buAutoNum type="arabicPeriod"/>
            </a:pP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ручка</a:t>
            </a: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едприятия </a:t>
            </a: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 400 млн</a:t>
            </a: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руб. </a:t>
            </a: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год</a:t>
            </a:r>
          </a:p>
          <a:p>
            <a:pPr marL="742950" indent="-742950">
              <a:buFont typeface="+mj-lt"/>
              <a:buAutoNum type="arabicPeriod"/>
            </a:pPr>
            <a:endParaRPr lang="ru-RU" sz="2400" spc="5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indent="-742950">
              <a:buFont typeface="+mj-lt"/>
              <a:buAutoNum type="arabicPeriod"/>
            </a:pP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дприятие</a:t>
            </a:r>
            <a:r>
              <a:rPr lang="ru-RU" sz="2400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ходит в состав приоритетных отраслей</a:t>
            </a: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 </a:t>
            </a:r>
          </a:p>
          <a:p>
            <a:pPr marL="1079500" indent="-317500">
              <a:buFont typeface="Arial" panose="020B0604020202020204" pitchFamily="34" charset="0"/>
              <a:buChar char="•"/>
            </a:pP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рабатывающее производство (956 компаний) </a:t>
            </a:r>
          </a:p>
          <a:p>
            <a:pPr marL="1079500" indent="-317500">
              <a:buFont typeface="Arial" panose="020B0604020202020204" pitchFamily="34" charset="0"/>
              <a:buChar char="•"/>
            </a:pP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ельское хозяйство (43 компаний)</a:t>
            </a:r>
          </a:p>
          <a:p>
            <a:pPr marL="1079500" indent="-317500">
              <a:buFont typeface="Arial" panose="020B0604020202020204" pitchFamily="34" charset="0"/>
              <a:buChar char="•"/>
            </a:pP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анспорт (176 компаний)</a:t>
            </a:r>
          </a:p>
          <a:p>
            <a:pPr marL="1079500" indent="-317500">
              <a:buFont typeface="Arial" panose="020B0604020202020204" pitchFamily="34" charset="0"/>
              <a:buChar char="•"/>
            </a:pP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роительство (296 компаний)</a:t>
            </a:r>
          </a:p>
          <a:p>
            <a:pPr marL="1079500" indent="-317500">
              <a:buFont typeface="Arial" panose="020B0604020202020204" pitchFamily="34" charset="0"/>
              <a:buChar char="•"/>
            </a:pP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рговля (1 189 компаний)</a:t>
            </a:r>
          </a:p>
          <a:p>
            <a:endParaRPr lang="ru-RU" sz="2400" spc="5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indent="-742950">
              <a:buFont typeface="+mj-lt"/>
              <a:buAutoNum type="arabicPeriod" startAt="3"/>
            </a:pP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гистрация</a:t>
            </a: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едприятия </a:t>
            </a: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территории Московской области</a:t>
            </a:r>
          </a:p>
          <a:p>
            <a:pPr marL="742950" indent="-742950">
              <a:buFont typeface="+mj-lt"/>
              <a:buAutoNum type="arabicPeriod" startAt="3"/>
            </a:pPr>
            <a:endParaRPr lang="ru-RU" sz="2400" spc="5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indent="-742950">
              <a:buFont typeface="+mj-lt"/>
              <a:buAutoNum type="arabicPeriod" startAt="3"/>
            </a:pP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ля участия </a:t>
            </a: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логовых резидентов </a:t>
            </a: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остранных государств </a:t>
            </a:r>
            <a:r>
              <a:rPr lang="ru-RU" sz="2400" spc="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уставном (складочном) капитале юридического лица                    </a:t>
            </a:r>
            <a:r>
              <a:rPr lang="ru-RU" sz="2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 выше 50%</a:t>
            </a:r>
          </a:p>
        </p:txBody>
      </p:sp>
      <p:sp>
        <p:nvSpPr>
          <p:cNvPr id="1048610" name="TextBox 13"/>
          <p:cNvSpPr txBox="1"/>
          <p:nvPr/>
        </p:nvSpPr>
        <p:spPr>
          <a:xfrm>
            <a:off x="10258800" y="3049443"/>
            <a:ext cx="8981262" cy="1869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marR="0" lvl="0" indent="-742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kumimoji="0" lang="ru-RU" sz="2400" b="1" i="0" u="none" strike="noStrike" kern="1200" cap="none" spc="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йти на сайт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C1F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2"/>
              </a:rPr>
              <a:t>https://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C1F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2"/>
              </a:rPr>
              <a:t>производительность.рф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C1F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2"/>
              </a:rPr>
              <a:t>/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C1F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0" indent="-742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srgbClr val="00C1F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0" indent="-742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жать кнопку «Стать участником»</a:t>
            </a:r>
          </a:p>
          <a:p>
            <a:pPr marL="742950" marR="0" lvl="0" indent="-742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endParaRPr kumimoji="0" lang="ru-RU" sz="2400" b="0" i="0" u="none" strike="noStrike" kern="1200" cap="none" spc="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0" indent="-742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kumimoji="0" lang="ru-RU" sz="2400" b="1" i="0" u="none" strike="noStrike" kern="1200" cap="none" spc="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полнить анкету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D0608FF-BA8B-5E41-8002-46FD988644AB}"/>
              </a:ext>
            </a:extLst>
          </p:cNvPr>
          <p:cNvGrpSpPr/>
          <p:nvPr/>
        </p:nvGrpSpPr>
        <p:grpSpPr>
          <a:xfrm>
            <a:off x="11680867" y="5178425"/>
            <a:ext cx="6705600" cy="5351069"/>
            <a:chOff x="11680867" y="5178425"/>
            <a:chExt cx="6705600" cy="5351069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6F989C4C-C622-C44B-9AB3-35FD906450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680867" y="5178425"/>
              <a:ext cx="6705600" cy="5351069"/>
            </a:xfrm>
            <a:prstGeom prst="rect">
              <a:avLst/>
            </a:prstGeom>
          </p:spPr>
        </p:pic>
        <p:pic>
          <p:nvPicPr>
            <p:cNvPr id="2097157" name="Рисунок 1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969559" y="5491373"/>
              <a:ext cx="6124912" cy="3361721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8" name="Заголовок 5"/>
          <p:cNvSpPr>
            <a:spLocks noGrp="1"/>
          </p:cNvSpPr>
          <p:nvPr>
            <p:ph type="title"/>
          </p:nvPr>
        </p:nvSpPr>
        <p:spPr>
          <a:xfrm>
            <a:off x="850763" y="422189"/>
            <a:ext cx="15802800" cy="677108"/>
          </a:xfrm>
          <a:prstGeom prst="rect">
            <a:avLst/>
          </a:prstGeom>
        </p:spPr>
        <p:txBody>
          <a:bodyPr/>
          <a:lstStyle/>
          <a:p>
            <a:r>
              <a:rPr lang="ru-RU" sz="4400" b="1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НОВНЫЕ</a:t>
            </a:r>
            <a:r>
              <a:rPr lang="ru-RU" sz="4400" b="1" spc="-3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4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ТАПЫ</a:t>
            </a:r>
            <a:r>
              <a:rPr lang="ru-RU" sz="4400" b="1" spc="-2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4400" b="1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АЛИЗАЦИИ</a:t>
            </a:r>
            <a:endParaRPr lang="ru-RU" sz="4400" b="1" dirty="0"/>
          </a:p>
        </p:txBody>
      </p:sp>
      <p:sp>
        <p:nvSpPr>
          <p:cNvPr id="1048639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507846"/>
            <a:fld id="{7E1A2DEA-0812-41F9-88C5-48F7F643210D}" type="slidenum">
              <a:rPr lang="ru-RU">
                <a:solidFill>
                  <a:prstClr val="white"/>
                </a:solidFill>
                <a:latin typeface="VTB Group Demi Bold"/>
              </a:rPr>
              <a:pPr defTabSz="1507846"/>
              <a:t>4</a:t>
            </a:fld>
            <a:endParaRPr lang="ru-RU">
              <a:solidFill>
                <a:prstClr val="white"/>
              </a:solidFill>
              <a:latin typeface="VTB Group Demi Bold"/>
            </a:endParaRPr>
          </a:p>
        </p:txBody>
      </p:sp>
      <p:grpSp>
        <p:nvGrpSpPr>
          <p:cNvPr id="68" name="Группа 4"/>
          <p:cNvGrpSpPr/>
          <p:nvPr/>
        </p:nvGrpSpPr>
        <p:grpSpPr>
          <a:xfrm>
            <a:off x="850762" y="2167717"/>
            <a:ext cx="6114789" cy="8192308"/>
            <a:chOff x="515939" y="1233488"/>
            <a:chExt cx="3708274" cy="4968172"/>
          </a:xfrm>
        </p:grpSpPr>
        <p:sp>
          <p:nvSpPr>
            <p:cNvPr id="1048640" name="Прямоугольник 35"/>
            <p:cNvSpPr/>
            <p:nvPr/>
          </p:nvSpPr>
          <p:spPr>
            <a:xfrm>
              <a:off x="522075" y="1738603"/>
              <a:ext cx="3600000" cy="4463057"/>
            </a:xfrm>
            <a:prstGeom prst="rect">
              <a:avLst/>
            </a:prstGeom>
            <a:noFill/>
            <a:ln w="12700">
              <a:gradFill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75000"/>
                      <a:alpha val="0"/>
                    </a:schemeClr>
                  </a:gs>
                </a:gsLst>
                <a:lin ang="5400000" scaled="1"/>
              </a:gradFill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endParaRPr lang="ru-RU" sz="2968">
                <a:solidFill>
                  <a:prstClr val="white"/>
                </a:solidFill>
                <a:latin typeface="VTB Group Book"/>
              </a:endParaRPr>
            </a:p>
          </p:txBody>
        </p:sp>
        <p:sp>
          <p:nvSpPr>
            <p:cNvPr id="1048641" name="Стрелка: пятиугольник 65"/>
            <p:cNvSpPr/>
            <p:nvPr/>
          </p:nvSpPr>
          <p:spPr>
            <a:xfrm>
              <a:off x="515939" y="1233488"/>
              <a:ext cx="3708274" cy="514641"/>
            </a:xfrm>
            <a:prstGeom prst="homePlate">
              <a:avLst>
                <a:gd name="adj" fmla="val 17843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96813" rtlCol="0" anchor="ctr"/>
            <a:lstStyle/>
            <a:p>
              <a:pPr defTabSz="1507846">
                <a:spcAft>
                  <a:spcPts val="1319"/>
                </a:spcAft>
              </a:pPr>
              <a:r>
                <a:rPr lang="ru-RU" sz="3298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ЭТАП 1 - </a:t>
              </a:r>
              <a:r>
                <a:rPr lang="ru-RU" sz="2400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 месяца</a:t>
              </a:r>
              <a:endParaRPr lang="ru-RU" sz="3298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48642" name="Прямоугольник 38"/>
            <p:cNvSpPr/>
            <p:nvPr/>
          </p:nvSpPr>
          <p:spPr>
            <a:xfrm>
              <a:off x="722831" y="2450669"/>
              <a:ext cx="3225282" cy="359299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Выбор </a:t>
              </a:r>
              <a:r>
                <a:rPr lang="ru-RU" sz="2000" b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роизводственного процесса</a:t>
              </a: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 дня</a:t>
              </a:r>
            </a:p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b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Формирование</a:t>
              </a: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2000" b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команды</a:t>
              </a: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на предприятии 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 дня</a:t>
              </a:r>
            </a:p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b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Обучение команды </a:t>
              </a: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редприятия       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 недели</a:t>
              </a:r>
            </a:p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остановка </a:t>
              </a:r>
              <a:r>
                <a:rPr lang="ru-RU" sz="2000" b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целей </a:t>
              </a: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 день</a:t>
              </a:r>
            </a:p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остроение карты технологического процесса в </a:t>
              </a:r>
              <a:r>
                <a:rPr lang="ru-RU" sz="2000" b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ущем состоянии </a:t>
              </a: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от 2 недель до 1 месяца</a:t>
              </a:r>
            </a:p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остроение карты технологического процесса в </a:t>
              </a:r>
              <a:r>
                <a:rPr lang="ru-RU" sz="2000" b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целевом состоянии</a:t>
              </a: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от 2 недель до 1 месяца</a:t>
              </a:r>
            </a:p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Формирование </a:t>
              </a:r>
              <a:r>
                <a:rPr lang="ru-RU" sz="2000" b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лана мероприятий </a:t>
              </a: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о устранению ключевых проблем 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 недели</a:t>
              </a:r>
            </a:p>
          </p:txBody>
        </p:sp>
        <p:sp>
          <p:nvSpPr>
            <p:cNvPr id="1048643" name="Прямоугольник 18"/>
            <p:cNvSpPr/>
            <p:nvPr/>
          </p:nvSpPr>
          <p:spPr>
            <a:xfrm>
              <a:off x="722831" y="1865964"/>
              <a:ext cx="3197426" cy="43130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507658"/>
              <a:r>
                <a:rPr lang="ru-RU" sz="2400" b="1" kern="0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Диагностика </a:t>
              </a:r>
            </a:p>
            <a:p>
              <a:pPr defTabSz="1507658"/>
              <a:r>
                <a:rPr lang="ru-RU" sz="2400" b="1" kern="0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и планирование</a:t>
              </a:r>
            </a:p>
          </p:txBody>
        </p:sp>
      </p:grpSp>
      <p:grpSp>
        <p:nvGrpSpPr>
          <p:cNvPr id="69" name="Группа 8"/>
          <p:cNvGrpSpPr/>
          <p:nvPr/>
        </p:nvGrpSpPr>
        <p:grpSpPr>
          <a:xfrm>
            <a:off x="6993866" y="2167718"/>
            <a:ext cx="6114789" cy="8192307"/>
            <a:chOff x="4241384" y="1233488"/>
            <a:chExt cx="3708274" cy="4968171"/>
          </a:xfrm>
        </p:grpSpPr>
        <p:sp>
          <p:nvSpPr>
            <p:cNvPr id="1048644" name="Прямоугольник 36"/>
            <p:cNvSpPr/>
            <p:nvPr/>
          </p:nvSpPr>
          <p:spPr>
            <a:xfrm>
              <a:off x="4245704" y="1738603"/>
              <a:ext cx="3600000" cy="4463056"/>
            </a:xfrm>
            <a:prstGeom prst="rect">
              <a:avLst/>
            </a:prstGeom>
            <a:noFill/>
            <a:ln w="12700">
              <a:gradFill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75000"/>
                      <a:alpha val="0"/>
                    </a:schemeClr>
                  </a:gs>
                </a:gsLst>
                <a:lin ang="5400000" scaled="1"/>
              </a:gradFill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endParaRPr lang="ru-RU" sz="2968">
                <a:solidFill>
                  <a:prstClr val="white"/>
                </a:solidFill>
                <a:latin typeface="VTB Group Book"/>
              </a:endParaRPr>
            </a:p>
          </p:txBody>
        </p:sp>
        <p:sp>
          <p:nvSpPr>
            <p:cNvPr id="1048645" name="Стрелка: шеврон 66"/>
            <p:cNvSpPr/>
            <p:nvPr/>
          </p:nvSpPr>
          <p:spPr>
            <a:xfrm>
              <a:off x="4241384" y="1233488"/>
              <a:ext cx="3708274" cy="514641"/>
            </a:xfrm>
            <a:prstGeom prst="chevron">
              <a:avLst>
                <a:gd name="adj" fmla="val 1780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96813" rtlCol="0" anchor="ctr"/>
            <a:lstStyle/>
            <a:p>
              <a:pPr defTabSz="1507846">
                <a:spcAft>
                  <a:spcPts val="1319"/>
                </a:spcAft>
              </a:pPr>
              <a:r>
                <a:rPr lang="ru-RU" sz="3298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ЭТАП</a:t>
              </a:r>
              <a:r>
                <a:rPr lang="ru-RU" sz="3298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2 </a:t>
              </a:r>
              <a:r>
                <a:rPr lang="ru-RU" sz="2400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 3 месяца</a:t>
              </a:r>
              <a:endParaRPr lang="ru-RU" sz="3298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48646" name="Прямоугольник 39"/>
            <p:cNvSpPr/>
            <p:nvPr/>
          </p:nvSpPr>
          <p:spPr>
            <a:xfrm>
              <a:off x="4469975" y="2450669"/>
              <a:ext cx="3023195" cy="213091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оставление плана внедрения мероприятий по повышению производительности труда 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 неделя</a:t>
              </a:r>
            </a:p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Реализация плана мероприятий 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 месяца</a:t>
              </a:r>
            </a:p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роверка технологического процесса на соответствие планируемым параметрам. Оценка производства по чек листу – </a:t>
              </a:r>
              <a:r>
                <a:rPr lang="ru-RU" sz="2000" b="1" i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 неделя</a:t>
              </a:r>
            </a:p>
          </p:txBody>
        </p:sp>
        <p:sp>
          <p:nvSpPr>
            <p:cNvPr id="1048647" name="Прямоугольник 19"/>
            <p:cNvSpPr/>
            <p:nvPr/>
          </p:nvSpPr>
          <p:spPr>
            <a:xfrm>
              <a:off x="4472940" y="1865964"/>
              <a:ext cx="3197426" cy="43130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507658"/>
              <a:r>
                <a:rPr lang="ru-RU" sz="2400" b="1" kern="0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Внедрение </a:t>
              </a:r>
            </a:p>
            <a:p>
              <a:pPr defTabSz="1507658"/>
              <a:r>
                <a:rPr lang="ru-RU" sz="2400" b="1" kern="0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улучшений</a:t>
              </a:r>
            </a:p>
          </p:txBody>
        </p:sp>
      </p:grpSp>
      <p:grpSp>
        <p:nvGrpSpPr>
          <p:cNvPr id="70" name="Группа 9"/>
          <p:cNvGrpSpPr/>
          <p:nvPr/>
        </p:nvGrpSpPr>
        <p:grpSpPr>
          <a:xfrm>
            <a:off x="13136969" y="2167717"/>
            <a:ext cx="6116372" cy="8192307"/>
            <a:chOff x="7966829" y="1233488"/>
            <a:chExt cx="3709234" cy="4968171"/>
          </a:xfrm>
        </p:grpSpPr>
        <p:sp>
          <p:nvSpPr>
            <p:cNvPr id="1048648" name="Прямоугольник 37"/>
            <p:cNvSpPr/>
            <p:nvPr/>
          </p:nvSpPr>
          <p:spPr>
            <a:xfrm>
              <a:off x="7977487" y="1738603"/>
              <a:ext cx="3600000" cy="4463056"/>
            </a:xfrm>
            <a:prstGeom prst="rect">
              <a:avLst/>
            </a:prstGeom>
            <a:noFill/>
            <a:ln w="12700">
              <a:gradFill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75000"/>
                      <a:alpha val="0"/>
                    </a:schemeClr>
                  </a:gs>
                </a:gsLst>
                <a:lin ang="5400000" scaled="1"/>
              </a:gradFill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endParaRPr lang="ru-RU" sz="2968">
                <a:solidFill>
                  <a:prstClr val="white"/>
                </a:solidFill>
                <a:latin typeface="VTB Group Book"/>
              </a:endParaRPr>
            </a:p>
          </p:txBody>
        </p:sp>
        <p:sp>
          <p:nvSpPr>
            <p:cNvPr id="1048649" name="Стрелка: шеврон 67"/>
            <p:cNvSpPr/>
            <p:nvPr/>
          </p:nvSpPr>
          <p:spPr>
            <a:xfrm>
              <a:off x="7966829" y="1233488"/>
              <a:ext cx="3709234" cy="514641"/>
            </a:xfrm>
            <a:prstGeom prst="chevron">
              <a:avLst>
                <a:gd name="adj" fmla="val 17735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96813" rtlCol="0" anchor="ctr"/>
            <a:lstStyle/>
            <a:p>
              <a:pPr defTabSz="1507846">
                <a:spcAft>
                  <a:spcPts val="1319"/>
                </a:spcAft>
              </a:pPr>
              <a:r>
                <a:rPr lang="ru-RU" sz="3298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ЭТАП</a:t>
              </a:r>
              <a:r>
                <a:rPr lang="ru-RU" sz="3298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3 </a:t>
              </a:r>
              <a:r>
                <a:rPr lang="ru-RU" sz="240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(постоянно)</a:t>
              </a:r>
            </a:p>
          </p:txBody>
        </p:sp>
        <p:sp>
          <p:nvSpPr>
            <p:cNvPr id="1048650" name="Прямоугольник 40"/>
            <p:cNvSpPr/>
            <p:nvPr/>
          </p:nvSpPr>
          <p:spPr>
            <a:xfrm>
              <a:off x="8193607" y="2450669"/>
              <a:ext cx="2934768" cy="9721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457200" indent="-457200" defTabSz="1507846">
                <a:spcAft>
                  <a:spcPts val="495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ru-RU" sz="2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иражирование подходов по  повышению производительности  труда во всех производственных и обеспечивающих процессах</a:t>
              </a:r>
            </a:p>
            <a:p>
              <a:pPr marL="282721" indent="-282721" defTabSz="1507846">
                <a:spcAft>
                  <a:spcPts val="495"/>
                </a:spcAft>
                <a:buClr>
                  <a:srgbClr val="0A2896"/>
                </a:buClr>
                <a:buSzPct val="80000"/>
                <a:buFont typeface="Wingdings" panose="05000000000000000000" pitchFamily="2" charset="2"/>
                <a:buChar char="§"/>
              </a:pPr>
              <a:endParaRPr lang="ru-RU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48651" name="Прямоугольник 20"/>
            <p:cNvSpPr/>
            <p:nvPr/>
          </p:nvSpPr>
          <p:spPr>
            <a:xfrm>
              <a:off x="8223049" y="1865964"/>
              <a:ext cx="3197426" cy="44795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507658"/>
              <a:r>
                <a:rPr lang="ru-RU" sz="2400" b="1" kern="0" dirty="0">
                  <a:solidFill>
                    <a:srgbClr val="00B0F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амостоятельная </a:t>
              </a:r>
            </a:p>
            <a:p>
              <a:pPr defTabSz="1507658"/>
              <a:r>
                <a:rPr lang="ru-RU" sz="2400" b="1" kern="0" dirty="0">
                  <a:solidFill>
                    <a:srgbClr val="00B0F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работа предприятия</a:t>
              </a: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58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507846"/>
            <a:fld id="{7E1A2DEA-0812-41F9-88C5-48F7F643210D}" type="slidenum">
              <a:rPr lang="ru-RU">
                <a:solidFill>
                  <a:prstClr val="white"/>
                </a:solidFill>
                <a:latin typeface="VTB Group Demi Bold"/>
              </a:rPr>
              <a:pPr defTabSz="1507846"/>
              <a:t>5</a:t>
            </a:fld>
            <a:endParaRPr lang="ru-RU" dirty="0">
              <a:solidFill>
                <a:prstClr val="white"/>
              </a:solidFill>
              <a:latin typeface="VTB Group Demi Bold"/>
            </a:endParaRPr>
          </a:p>
        </p:txBody>
      </p:sp>
      <p:sp>
        <p:nvSpPr>
          <p:cNvPr id="1048659" name="Заголовок 9"/>
          <p:cNvSpPr>
            <a:spLocks noGrp="1"/>
          </p:cNvSpPr>
          <p:nvPr>
            <p:ph type="title"/>
          </p:nvPr>
        </p:nvSpPr>
        <p:spPr>
          <a:xfrm>
            <a:off x="850763" y="295265"/>
            <a:ext cx="15802800" cy="677108"/>
          </a:xfrm>
        </p:spPr>
        <p:txBody>
          <a:bodyPr/>
          <a:lstStyle/>
          <a:p>
            <a:r>
              <a:rPr lang="ru-RU" sz="4400" b="1" spc="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РИТЕРИИ УСПЕХА</a:t>
            </a:r>
            <a:endParaRPr lang="ru-RU" sz="4400" dirty="0">
              <a:solidFill>
                <a:srgbClr val="002060"/>
              </a:solidFill>
            </a:endParaRPr>
          </a:p>
        </p:txBody>
      </p:sp>
      <p:sp>
        <p:nvSpPr>
          <p:cNvPr id="1048660" name="Полилиния 53"/>
          <p:cNvSpPr/>
          <p:nvPr/>
        </p:nvSpPr>
        <p:spPr>
          <a:xfrm>
            <a:off x="862184" y="2349547"/>
            <a:ext cx="11856866" cy="1390317"/>
          </a:xfrm>
          <a:custGeom>
            <a:avLst/>
            <a:gdLst>
              <a:gd name="connsiteX0" fmla="*/ 0 w 7190519"/>
              <a:gd name="connsiteY0" fmla="*/ 0 h 843149"/>
              <a:gd name="connsiteX1" fmla="*/ 7190519 w 7190519"/>
              <a:gd name="connsiteY1" fmla="*/ 0 h 843149"/>
              <a:gd name="connsiteX2" fmla="*/ 6893258 w 7190519"/>
              <a:gd name="connsiteY2" fmla="*/ 843149 h 843149"/>
              <a:gd name="connsiteX3" fmla="*/ 0 w 7190519"/>
              <a:gd name="connsiteY3" fmla="*/ 843149 h 84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0519" h="843149">
                <a:moveTo>
                  <a:pt x="0" y="0"/>
                </a:moveTo>
                <a:lnTo>
                  <a:pt x="7190519" y="0"/>
                </a:lnTo>
                <a:lnTo>
                  <a:pt x="6893258" y="843149"/>
                </a:lnTo>
                <a:lnTo>
                  <a:pt x="0" y="843149"/>
                </a:lnTo>
                <a:close/>
              </a:path>
            </a:pathLst>
          </a:custGeom>
          <a:solidFill>
            <a:srgbClr val="002060"/>
          </a:soli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000" rtlCol="0" anchor="ctr"/>
          <a:lstStyle/>
          <a:p>
            <a:pPr defTabSz="1507846">
              <a:buClr>
                <a:srgbClr val="00AAFF"/>
              </a:buClr>
            </a:pPr>
            <a:r>
              <a:rPr lang="ru-RU" sz="36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TB Group Cond Light"/>
              </a:rPr>
              <a:t>1. Новая культура производства</a:t>
            </a:r>
          </a:p>
        </p:txBody>
      </p:sp>
      <p:grpSp>
        <p:nvGrpSpPr>
          <p:cNvPr id="74" name="Группа 3"/>
          <p:cNvGrpSpPr/>
          <p:nvPr/>
        </p:nvGrpSpPr>
        <p:grpSpPr>
          <a:xfrm>
            <a:off x="850760" y="4316334"/>
            <a:ext cx="11156728" cy="1390317"/>
            <a:chOff x="515937" y="2536503"/>
            <a:chExt cx="6765925" cy="843149"/>
          </a:xfrm>
        </p:grpSpPr>
        <p:sp>
          <p:nvSpPr>
            <p:cNvPr id="1048662" name="Полилиния 52"/>
            <p:cNvSpPr/>
            <p:nvPr/>
          </p:nvSpPr>
          <p:spPr>
            <a:xfrm>
              <a:off x="515937" y="2536503"/>
              <a:ext cx="6764865" cy="843149"/>
            </a:xfrm>
            <a:custGeom>
              <a:avLst/>
              <a:gdLst>
                <a:gd name="connsiteX0" fmla="*/ 0 w 6764865"/>
                <a:gd name="connsiteY0" fmla="*/ 0 h 843149"/>
                <a:gd name="connsiteX1" fmla="*/ 6764865 w 6764865"/>
                <a:gd name="connsiteY1" fmla="*/ 0 h 843149"/>
                <a:gd name="connsiteX2" fmla="*/ 6467604 w 6764865"/>
                <a:gd name="connsiteY2" fmla="*/ 843149 h 843149"/>
                <a:gd name="connsiteX3" fmla="*/ 0 w 6764865"/>
                <a:gd name="connsiteY3" fmla="*/ 843149 h 843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64865" h="843149">
                  <a:moveTo>
                    <a:pt x="0" y="0"/>
                  </a:moveTo>
                  <a:lnTo>
                    <a:pt x="6764865" y="0"/>
                  </a:lnTo>
                  <a:lnTo>
                    <a:pt x="6467604" y="843149"/>
                  </a:lnTo>
                  <a:lnTo>
                    <a:pt x="0" y="843149"/>
                  </a:lnTo>
                  <a:close/>
                </a:path>
              </a:pathLst>
            </a:custGeom>
            <a:solidFill>
              <a:srgbClr val="002060"/>
            </a:solidFill>
            <a:ln w="6350">
              <a:noFill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8000" rtlCol="0" anchor="ctr"/>
            <a:lstStyle/>
            <a:p>
              <a:pPr defTabSz="1507846">
                <a:buClr>
                  <a:srgbClr val="00AAFF"/>
                </a:buClr>
              </a:pPr>
              <a:r>
                <a:rPr lang="ru-RU" sz="2968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TB Group Cond Light"/>
                </a:rPr>
                <a:t>2. Рост производительности</a:t>
              </a:r>
            </a:p>
            <a:p>
              <a:pPr defTabSz="1507846">
                <a:buClr>
                  <a:srgbClr val="00AAFF"/>
                </a:buClr>
              </a:pPr>
              <a:r>
                <a:rPr lang="ru-RU" sz="2968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TB Group Cond Light"/>
                </a:rPr>
                <a:t>Снижение времени протекания процесса</a:t>
              </a:r>
            </a:p>
          </p:txBody>
        </p:sp>
        <p:sp>
          <p:nvSpPr>
            <p:cNvPr id="1048663" name="Полилиния 52"/>
            <p:cNvSpPr/>
            <p:nvPr/>
          </p:nvSpPr>
          <p:spPr>
            <a:xfrm>
              <a:off x="6896100" y="2536503"/>
              <a:ext cx="385762" cy="843149"/>
            </a:xfrm>
            <a:prstGeom prst="parallelogram">
              <a:avLst>
                <a:gd name="adj" fmla="val 77158"/>
              </a:avLst>
            </a:prstGeom>
            <a:solidFill>
              <a:srgbClr val="00B0F0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7250" rtlCol="0" anchor="ctr"/>
            <a:lstStyle/>
            <a:p>
              <a:pPr defTabSz="1507846">
                <a:buClr>
                  <a:srgbClr val="00AAFF"/>
                </a:buClr>
              </a:pPr>
              <a:endParaRPr lang="ru-RU" sz="2968" b="1" dirty="0">
                <a:solidFill>
                  <a:srgbClr val="FFFFFF"/>
                </a:solidFill>
                <a:latin typeface="VTB Group Book"/>
                <a:ea typeface="VTB Group Cond Light"/>
                <a:cs typeface="VTB Group Cond Light"/>
              </a:endParaRPr>
            </a:p>
          </p:txBody>
        </p:sp>
      </p:grpSp>
      <p:sp>
        <p:nvSpPr>
          <p:cNvPr id="1048665" name="Полилиния 51"/>
          <p:cNvSpPr/>
          <p:nvPr/>
        </p:nvSpPr>
        <p:spPr>
          <a:xfrm>
            <a:off x="850759" y="6290833"/>
            <a:ext cx="10453095" cy="1390317"/>
          </a:xfrm>
          <a:custGeom>
            <a:avLst/>
            <a:gdLst>
              <a:gd name="connsiteX0" fmla="*/ 0 w 6339211"/>
              <a:gd name="connsiteY0" fmla="*/ 0 h 843149"/>
              <a:gd name="connsiteX1" fmla="*/ 6339211 w 6339211"/>
              <a:gd name="connsiteY1" fmla="*/ 0 h 843149"/>
              <a:gd name="connsiteX2" fmla="*/ 6041950 w 6339211"/>
              <a:gd name="connsiteY2" fmla="*/ 843149 h 843149"/>
              <a:gd name="connsiteX3" fmla="*/ 0 w 6339211"/>
              <a:gd name="connsiteY3" fmla="*/ 843149 h 84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39211" h="843149">
                <a:moveTo>
                  <a:pt x="0" y="0"/>
                </a:moveTo>
                <a:lnTo>
                  <a:pt x="6339211" y="0"/>
                </a:lnTo>
                <a:lnTo>
                  <a:pt x="6041950" y="843149"/>
                </a:lnTo>
                <a:lnTo>
                  <a:pt x="0" y="843149"/>
                </a:lnTo>
                <a:close/>
              </a:path>
            </a:pathLst>
          </a:custGeom>
          <a:solidFill>
            <a:srgbClr val="002060"/>
          </a:soli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000" rtlCol="0" anchor="ctr"/>
          <a:lstStyle/>
          <a:p>
            <a:pPr defTabSz="1507846">
              <a:buClr>
                <a:srgbClr val="00AAFF"/>
              </a:buClr>
            </a:pPr>
            <a:r>
              <a:rPr lang="ru-RU" sz="2968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TB Group Cond Light"/>
              </a:rPr>
              <a:t>3. Снижение запасов незавершённого производства</a:t>
            </a:r>
          </a:p>
        </p:txBody>
      </p:sp>
      <p:sp>
        <p:nvSpPr>
          <p:cNvPr id="1048667" name="Полилиния 50"/>
          <p:cNvSpPr/>
          <p:nvPr/>
        </p:nvSpPr>
        <p:spPr>
          <a:xfrm>
            <a:off x="850759" y="8265329"/>
            <a:ext cx="9751209" cy="1390317"/>
          </a:xfrm>
          <a:custGeom>
            <a:avLst/>
            <a:gdLst>
              <a:gd name="connsiteX0" fmla="*/ 0 w 5913557"/>
              <a:gd name="connsiteY0" fmla="*/ 0 h 843149"/>
              <a:gd name="connsiteX1" fmla="*/ 5913557 w 5913557"/>
              <a:gd name="connsiteY1" fmla="*/ 0 h 843149"/>
              <a:gd name="connsiteX2" fmla="*/ 5616297 w 5913557"/>
              <a:gd name="connsiteY2" fmla="*/ 843149 h 843149"/>
              <a:gd name="connsiteX3" fmla="*/ 0 w 5913557"/>
              <a:gd name="connsiteY3" fmla="*/ 843149 h 84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3557" h="843149">
                <a:moveTo>
                  <a:pt x="0" y="0"/>
                </a:moveTo>
                <a:lnTo>
                  <a:pt x="5913557" y="0"/>
                </a:lnTo>
                <a:lnTo>
                  <a:pt x="5616297" y="843149"/>
                </a:lnTo>
                <a:lnTo>
                  <a:pt x="0" y="843149"/>
                </a:lnTo>
                <a:close/>
              </a:path>
            </a:pathLst>
          </a:custGeom>
          <a:solidFill>
            <a:srgbClr val="002060"/>
          </a:soli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000" rtlCol="0" anchor="ctr"/>
          <a:lstStyle/>
          <a:p>
            <a:pPr defTabSz="1507846">
              <a:buClr>
                <a:srgbClr val="00AAFF"/>
              </a:buClr>
            </a:pPr>
            <a:r>
              <a:rPr lang="ru-RU" sz="2968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TB Group Cond Light"/>
              </a:rPr>
              <a:t>4. Увеличение выработки продукции</a:t>
            </a:r>
          </a:p>
        </p:txBody>
      </p:sp>
      <p:sp>
        <p:nvSpPr>
          <p:cNvPr id="1048669" name="Полилиния 52"/>
          <p:cNvSpPr/>
          <p:nvPr/>
        </p:nvSpPr>
        <p:spPr>
          <a:xfrm>
            <a:off x="12082945" y="2349547"/>
            <a:ext cx="636105" cy="1390317"/>
          </a:xfrm>
          <a:prstGeom prst="parallelogram">
            <a:avLst>
              <a:gd name="adj" fmla="val 77158"/>
            </a:avLst>
          </a:prstGeom>
          <a:solidFill>
            <a:srgbClr val="00B0F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7250" rtlCol="0" anchor="ctr"/>
          <a:lstStyle/>
          <a:p>
            <a:pPr defTabSz="1507846">
              <a:buClr>
                <a:srgbClr val="00AAFF"/>
              </a:buClr>
            </a:pPr>
            <a:endParaRPr lang="ru-RU" sz="2968" dirty="0">
              <a:solidFill>
                <a:srgbClr val="FFFFFF"/>
              </a:solidFill>
              <a:latin typeface="VTB Group Book"/>
              <a:ea typeface="VTB Group Cond Light"/>
              <a:cs typeface="VTB Group Cond Light"/>
            </a:endParaRPr>
          </a:p>
        </p:txBody>
      </p:sp>
      <p:sp>
        <p:nvSpPr>
          <p:cNvPr id="1048670" name="Полилиния 52"/>
          <p:cNvSpPr/>
          <p:nvPr/>
        </p:nvSpPr>
        <p:spPr>
          <a:xfrm>
            <a:off x="10711345" y="6290799"/>
            <a:ext cx="636105" cy="1390317"/>
          </a:xfrm>
          <a:prstGeom prst="parallelogram">
            <a:avLst>
              <a:gd name="adj" fmla="val 77158"/>
            </a:avLst>
          </a:prstGeom>
          <a:solidFill>
            <a:srgbClr val="00B0F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7250" rtlCol="0" anchor="ctr"/>
          <a:lstStyle/>
          <a:p>
            <a:pPr defTabSz="1507846">
              <a:buClr>
                <a:srgbClr val="00AAFF"/>
              </a:buClr>
            </a:pPr>
            <a:endParaRPr lang="ru-RU" sz="2968" dirty="0">
              <a:solidFill>
                <a:srgbClr val="FFFFFF"/>
              </a:solidFill>
              <a:latin typeface="VTB Group Book"/>
              <a:ea typeface="VTB Group Cond Light"/>
              <a:cs typeface="VTB Group Cond Light"/>
            </a:endParaRPr>
          </a:p>
        </p:txBody>
      </p:sp>
      <p:sp>
        <p:nvSpPr>
          <p:cNvPr id="1048671" name="Полилиния 52"/>
          <p:cNvSpPr/>
          <p:nvPr/>
        </p:nvSpPr>
        <p:spPr>
          <a:xfrm>
            <a:off x="9975850" y="8270306"/>
            <a:ext cx="636105" cy="1390317"/>
          </a:xfrm>
          <a:prstGeom prst="parallelogram">
            <a:avLst>
              <a:gd name="adj" fmla="val 77158"/>
            </a:avLst>
          </a:prstGeom>
          <a:solidFill>
            <a:srgbClr val="00B0F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7250" rtlCol="0" anchor="ctr"/>
          <a:lstStyle/>
          <a:p>
            <a:pPr defTabSz="1507846">
              <a:buClr>
                <a:srgbClr val="00AAFF"/>
              </a:buClr>
            </a:pPr>
            <a:endParaRPr lang="ru-RU" sz="2968" dirty="0">
              <a:solidFill>
                <a:srgbClr val="FFFFFF"/>
              </a:solidFill>
              <a:latin typeface="VTB Group Book"/>
              <a:ea typeface="VTB Group Cond Light"/>
              <a:cs typeface="VTB Group Cond Ligh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4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748650"/>
              </p:ext>
            </p:extLst>
          </p:nvPr>
        </p:nvGraphicFramePr>
        <p:xfrm>
          <a:off x="850755" y="2087448"/>
          <a:ext cx="18376029" cy="8120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098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150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64177">
                <a:tc>
                  <a:txBody>
                    <a:bodyPr/>
                    <a:lstStyle/>
                    <a:p>
                      <a:pPr algn="ctr"/>
                      <a:r>
                        <a:rPr lang="ru-RU" sz="3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№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ера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Результаты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8000">
                <a:tc>
                  <a:txBody>
                    <a:bodyPr/>
                    <a:lstStyle/>
                    <a:p>
                      <a:pPr algn="ctr"/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инансовая поддержка ФРП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800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(</a:t>
                      </a: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льготный заём </a:t>
                      </a: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 программе «Повышение производительности труда» от </a:t>
                      </a: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РП РФ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800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- </a:t>
                      </a: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т</a:t>
                      </a:r>
                      <a:r>
                        <a:rPr lang="ru-RU" sz="2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0 до 300 млн. рублей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800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-  </a:t>
                      </a: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рок </a:t>
                      </a: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о 5 лет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800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- </a:t>
                      </a: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под </a:t>
                      </a: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% годовых</a:t>
                      </a:r>
                      <a:endParaRPr lang="ru-RU" sz="2800" dirty="0">
                        <a:solidFill>
                          <a:srgbClr val="00206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рассмотрении в ФРП РФ </a:t>
                      </a: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 заявки</a:t>
                      </a:r>
                    </a:p>
                    <a:p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540 млн. рублей</a:t>
                      </a: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от предприятий Московской области – участников нац. проекта.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800" dirty="0">
                          <a:solidFill>
                            <a:schemeClr val="dk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 </a:t>
                      </a: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Озерская промышленная компания - 80 млн. руб.</a:t>
                      </a:r>
                    </a:p>
                    <a:p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 Георг-полимер – 250 млн. руб.</a:t>
                      </a:r>
                    </a:p>
                    <a:p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 Архимед – 210 млн. руб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28000">
                <a:tc>
                  <a:txBody>
                    <a:bodyPr/>
                    <a:lstStyle/>
                    <a:p>
                      <a:pPr algn="ctr"/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ополнительное обучение </a:t>
                      </a: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 программе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дготовки управленческих кадров «Лидеры производительности»</a:t>
                      </a:r>
                      <a:r>
                        <a:rPr lang="ru-RU" sz="28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,</a:t>
                      </a:r>
                      <a:r>
                        <a:rPr lang="ru-RU" sz="28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инэкономразвития России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овместно с Всероссийской академией внешней торговли и РАНХиГ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15 сотрудников </a:t>
                      </a: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едприятий МО</a:t>
                      </a:r>
                    </a:p>
                    <a:p>
                      <a:r>
                        <a:rPr lang="ru-RU" sz="2800" b="1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шли обучение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 программе </a:t>
                      </a:r>
                      <a:endParaRPr lang="ru-RU" sz="2800" b="1" dirty="0">
                        <a:solidFill>
                          <a:srgbClr val="00206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endParaRPr lang="ru-RU" sz="28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r>
                        <a:rPr lang="ru-RU" sz="28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а текущий момент в процессе обучения  115 человек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48611" name="Заголовок 4"/>
          <p:cNvSpPr>
            <a:spLocks noGrp="1"/>
          </p:cNvSpPr>
          <p:nvPr>
            <p:ph type="title"/>
          </p:nvPr>
        </p:nvSpPr>
        <p:spPr>
          <a:xfrm>
            <a:off x="880981" y="454025"/>
            <a:ext cx="15802800" cy="677108"/>
          </a:xfr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РЫ ПОДДЕРЖКИ ДЛЯ </a:t>
            </a:r>
            <a:r>
              <a:rPr kumimoji="0" lang="ru-RU" sz="4400" b="1" i="0" u="none" strike="noStrike" kern="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АСТНИКОВ</a:t>
            </a:r>
            <a:endParaRPr lang="ru-RU" sz="4400" dirty="0"/>
          </a:p>
        </p:txBody>
      </p:sp>
      <p:sp>
        <p:nvSpPr>
          <p:cNvPr id="104861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1A2DEA-0812-41F9-88C5-48F7F643210D}" type="slidenum">
              <a:rPr lang="ru-RU" smtClean="0"/>
              <a:t>6</a:t>
            </a:fld>
            <a:endParaRPr lang="ru-RU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64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37" y="1825625"/>
            <a:ext cx="19868226" cy="8965177"/>
          </a:xfrm>
          <a:prstGeom prst="rect">
            <a:avLst/>
          </a:prstGeom>
        </p:spPr>
      </p:pic>
      <p:sp>
        <p:nvSpPr>
          <p:cNvPr id="1048626" name="Заголовок 11"/>
          <p:cNvSpPr>
            <a:spLocks noGrp="1"/>
          </p:cNvSpPr>
          <p:nvPr>
            <p:ph type="title"/>
          </p:nvPr>
        </p:nvSpPr>
        <p:spPr>
          <a:xfrm>
            <a:off x="850762" y="422189"/>
            <a:ext cx="18376021" cy="2031325"/>
          </a:xfrm>
          <a:prstGeom prst="rect">
            <a:avLst/>
          </a:prstGeo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РЫ ПОДДЕРЖКИ - ПРОГРАММА ЛЬГОТНЫХ ЗАЙМОВ ФРП «ПОВЫШЕНИЕ ПРОИЗВОДИТЕЛЬНОСТИ ТРУДА»</a:t>
            </a:r>
            <a:endParaRPr lang="ru-RU" dirty="0"/>
          </a:p>
        </p:txBody>
      </p:sp>
      <p:sp>
        <p:nvSpPr>
          <p:cNvPr id="1048627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507846"/>
            <a:fld id="{7E1A2DEA-0812-41F9-88C5-48F7F643210D}" type="slidenum">
              <a:rPr lang="ru-RU">
                <a:solidFill>
                  <a:prstClr val="white"/>
                </a:solidFill>
                <a:latin typeface="VTB Group Demi Bold"/>
              </a:rPr>
              <a:pPr defTabSz="1507846"/>
              <a:t>7</a:t>
            </a:fld>
            <a:endParaRPr lang="ru-RU">
              <a:solidFill>
                <a:prstClr val="white"/>
              </a:solidFill>
              <a:latin typeface="VTB Group Demi Bold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8" name="Заголовок 11"/>
          <p:cNvSpPr>
            <a:spLocks noGrp="1"/>
          </p:cNvSpPr>
          <p:nvPr>
            <p:ph type="title"/>
          </p:nvPr>
        </p:nvSpPr>
        <p:spPr>
          <a:xfrm>
            <a:off x="850763" y="422189"/>
            <a:ext cx="15802800" cy="1354217"/>
          </a:xfrm>
          <a:prstGeom prst="rect">
            <a:avLst/>
          </a:prstGeo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РЫ ПОДДЕРЖКИ</a:t>
            </a:r>
            <a:r>
              <a:rPr lang="en-US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</a:t>
            </a:r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ГРАММА ОБУЧЕНИЯ «ЛИДЕРЫ ПРОИЗВОДИТЕЛЬНОСТИ»</a:t>
            </a:r>
            <a:endParaRPr lang="ru-RU" dirty="0"/>
          </a:p>
        </p:txBody>
      </p:sp>
      <p:sp>
        <p:nvSpPr>
          <p:cNvPr id="1048629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507846"/>
            <a:fld id="{7E1A2DEA-0812-41F9-88C5-48F7F643210D}" type="slidenum">
              <a:rPr lang="ru-RU">
                <a:solidFill>
                  <a:prstClr val="white"/>
                </a:solidFill>
                <a:latin typeface="VTB Group Demi Bold"/>
              </a:rPr>
              <a:pPr defTabSz="1507846"/>
              <a:t>8</a:t>
            </a:fld>
            <a:endParaRPr lang="ru-RU">
              <a:solidFill>
                <a:prstClr val="white"/>
              </a:solidFill>
              <a:latin typeface="VTB Group Demi Bold"/>
            </a:endParaRPr>
          </a:p>
        </p:txBody>
      </p:sp>
      <p:pic>
        <p:nvPicPr>
          <p:cNvPr id="2097165" name="object 26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405846" y="4993913"/>
            <a:ext cx="2942736" cy="5400464"/>
          </a:xfrm>
          <a:prstGeom prst="rect">
            <a:avLst/>
          </a:prstGeom>
        </p:spPr>
      </p:pic>
      <p:pic>
        <p:nvPicPr>
          <p:cNvPr id="2097166" name="object 28"/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47601" y="3043815"/>
            <a:ext cx="3063362" cy="5654278"/>
          </a:xfrm>
          <a:prstGeom prst="rect">
            <a:avLst/>
          </a:prstGeom>
        </p:spPr>
      </p:pic>
      <p:sp>
        <p:nvSpPr>
          <p:cNvPr id="1048630" name="object 9"/>
          <p:cNvSpPr txBox="1"/>
          <p:nvPr/>
        </p:nvSpPr>
        <p:spPr>
          <a:xfrm>
            <a:off x="591730" y="2424143"/>
            <a:ext cx="3973920" cy="1528194"/>
          </a:xfrm>
          <a:prstGeom prst="rect">
            <a:avLst/>
          </a:prstGeom>
        </p:spPr>
        <p:txBody>
          <a:bodyPr vert="horz" wrap="square" lIns="0" tIns="19895" rIns="0" bIns="0" rtlCol="0">
            <a:spAutoFit/>
          </a:bodyPr>
          <a:lstStyle/>
          <a:p>
            <a:pPr marL="20942"/>
            <a:r>
              <a:rPr lang="ru-RU" sz="5400" b="1" kern="0" spc="-5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Цель</a:t>
            </a:r>
          </a:p>
          <a:p>
            <a:pPr marL="20942"/>
            <a:r>
              <a:rPr lang="ru-RU" sz="4400" b="1" kern="0" spc="-5" dirty="0">
                <a:latin typeface="Verdana" panose="020B0604030504040204" pitchFamily="34" charset="0"/>
                <a:ea typeface="Verdana" panose="020B0604030504040204" pitchFamily="34" charset="0"/>
              </a:rPr>
              <a:t>программы</a:t>
            </a:r>
          </a:p>
        </p:txBody>
      </p:sp>
      <p:sp>
        <p:nvSpPr>
          <p:cNvPr id="1048631" name="TextBox 12"/>
          <p:cNvSpPr txBox="1"/>
          <p:nvPr/>
        </p:nvSpPr>
        <p:spPr>
          <a:xfrm>
            <a:off x="591730" y="4112618"/>
            <a:ext cx="320040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</a:rPr>
              <a:t>Формирование системного  подхода к управлению  предприятием для повышения  производительности труда</a:t>
            </a: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</a:rPr>
              <a:t>в условиях современного рынка</a:t>
            </a:r>
          </a:p>
        </p:txBody>
      </p:sp>
      <p:sp>
        <p:nvSpPr>
          <p:cNvPr id="1048632" name="object 9"/>
          <p:cNvSpPr txBox="1"/>
          <p:nvPr/>
        </p:nvSpPr>
        <p:spPr>
          <a:xfrm>
            <a:off x="12033249" y="2424143"/>
            <a:ext cx="4276283" cy="1528194"/>
          </a:xfrm>
          <a:prstGeom prst="rect">
            <a:avLst/>
          </a:prstGeom>
        </p:spPr>
        <p:txBody>
          <a:bodyPr vert="horz" wrap="square" lIns="0" tIns="19895" rIns="0" bIns="0" rtlCol="0">
            <a:spAutoFit/>
          </a:bodyPr>
          <a:lstStyle/>
          <a:p>
            <a:pPr marL="20942"/>
            <a:r>
              <a:rPr lang="ru-RU" sz="5400" b="1" kern="0" spc="-5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дачи</a:t>
            </a:r>
          </a:p>
          <a:p>
            <a:pPr marL="20942"/>
            <a:endParaRPr lang="ru-RU" sz="4400" b="1" kern="0" spc="-5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48633" name="object 8"/>
          <p:cNvSpPr txBox="1"/>
          <p:nvPr/>
        </p:nvSpPr>
        <p:spPr>
          <a:xfrm>
            <a:off x="12109450" y="3404988"/>
            <a:ext cx="7543800" cy="6955037"/>
          </a:xfrm>
          <a:prstGeom prst="rect">
            <a:avLst/>
          </a:prstGeom>
        </p:spPr>
        <p:txBody>
          <a:bodyPr vert="horz" wrap="square" lIns="0" tIns="61778" rIns="0" bIns="0" rtlCol="0">
            <a:spAutoFit/>
          </a:bodyPr>
          <a:lstStyle/>
          <a:p>
            <a:pPr marL="478142" marR="1367532" indent="-457200">
              <a:lnSpc>
                <a:spcPts val="2490"/>
              </a:lnSpc>
              <a:spcBef>
                <a:spcPts val="486"/>
              </a:spcBef>
              <a:buFont typeface="+mj-lt"/>
              <a:buAutoNum type="arabicPeriod"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</a:rPr>
              <a:t>Как комплексно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 оценить предприятие с точки зрения  его производительности и </a:t>
            </a:r>
            <a:r>
              <a:rPr sz="2000" b="1" dirty="0">
                <a:latin typeface="Verdana" panose="020B0604030504040204" pitchFamily="34" charset="0"/>
                <a:ea typeface="Verdana" panose="020B0604030504040204" pitchFamily="34" charset="0"/>
              </a:rPr>
              <a:t>найти </a:t>
            </a:r>
            <a:r>
              <a:rPr sz="2000" b="1" dirty="0" err="1">
                <a:latin typeface="Verdana" panose="020B0604030504040204" pitchFamily="34" charset="0"/>
                <a:ea typeface="Verdana" panose="020B0604030504040204" pitchFamily="34" charset="0"/>
              </a:rPr>
              <a:t>точки</a:t>
            </a:r>
            <a:r>
              <a:rPr sz="20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sz="2000" b="1" dirty="0" err="1">
                <a:latin typeface="Verdana" panose="020B0604030504040204" pitchFamily="34" charset="0"/>
                <a:ea typeface="Verdana" panose="020B0604030504040204" pitchFamily="34" charset="0"/>
              </a:rPr>
              <a:t>роста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78142" marR="1367532" indent="-457200">
              <a:lnSpc>
                <a:spcPts val="2490"/>
              </a:lnSpc>
              <a:spcBef>
                <a:spcPts val="486"/>
              </a:spcBef>
              <a:buFont typeface="+mj-lt"/>
              <a:buAutoNum type="arabicPeriod"/>
            </a:pPr>
            <a:endParaRPr lang="ru-RU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78142" marR="1367532" indent="-457200">
              <a:lnSpc>
                <a:spcPts val="2490"/>
              </a:lnSpc>
              <a:spcBef>
                <a:spcPts val="486"/>
              </a:spcBef>
              <a:buFont typeface="+mj-lt"/>
              <a:buAutoNum type="arabicPeriod"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</a:rPr>
              <a:t>К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акие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 решения необходимо принять в текущих экономических  условиях для повышения 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производительности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труда</a:t>
            </a:r>
            <a:endParaRPr lang="ru-RU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78142" marR="1367532" indent="-457200">
              <a:lnSpc>
                <a:spcPts val="2490"/>
              </a:lnSpc>
              <a:spcBef>
                <a:spcPts val="486"/>
              </a:spcBef>
              <a:buFont typeface="+mj-lt"/>
              <a:buAutoNum type="arabicPeriod"/>
            </a:pPr>
            <a:endParaRPr lang="ru-RU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78142" marR="1367532" indent="-457200">
              <a:lnSpc>
                <a:spcPts val="2490"/>
              </a:lnSpc>
              <a:spcBef>
                <a:spcPts val="486"/>
              </a:spcBef>
              <a:buFont typeface="+mj-lt"/>
              <a:buAutoNum type="arabicPeriod"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</a:rPr>
              <a:t>К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ак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sz="2000" b="1" dirty="0">
                <a:latin typeface="Verdana" panose="020B0604030504040204" pitchFamily="34" charset="0"/>
                <a:ea typeface="Verdana" panose="020B0604030504040204" pitchFamily="34" charset="0"/>
              </a:rPr>
              <a:t>найти новые ниши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, продукты, услуги 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и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драйверы</a:t>
            </a: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роста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 предприятия, включая 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цифровую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трансформацию</a:t>
            </a:r>
            <a:endParaRPr lang="ru-RU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78142" marR="1367532" indent="-457200">
              <a:lnSpc>
                <a:spcPts val="2490"/>
              </a:lnSpc>
              <a:spcBef>
                <a:spcPts val="486"/>
              </a:spcBef>
              <a:buFont typeface="+mj-lt"/>
              <a:buAutoNum type="arabicPeriod"/>
            </a:pPr>
            <a:endParaRPr lang="ru-RU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78142" marR="1367532" indent="-457200">
              <a:lnSpc>
                <a:spcPts val="2490"/>
              </a:lnSpc>
              <a:spcBef>
                <a:spcPts val="486"/>
              </a:spcBef>
              <a:buFont typeface="+mj-lt"/>
              <a:buAutoNum type="arabicPeriod"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К</a:t>
            </a:r>
            <a:r>
              <a:rPr sz="2000" b="1" dirty="0" err="1">
                <a:latin typeface="Verdana" panose="020B0604030504040204" pitchFamily="34" charset="0"/>
                <a:ea typeface="Verdana" panose="020B0604030504040204" pitchFamily="34" charset="0"/>
              </a:rPr>
              <a:t>ак</a:t>
            </a:r>
            <a:r>
              <a:rPr sz="2000" b="1" dirty="0">
                <a:latin typeface="Verdana" panose="020B0604030504040204" pitchFamily="34" charset="0"/>
                <a:ea typeface="Verdana" panose="020B0604030504040204" pitchFamily="34" charset="0"/>
              </a:rPr>
              <a:t> внедрять изменения 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на предприятии и управлять сотрудниками  в условиях изменений, в том числе в условиях 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удаленной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работы</a:t>
            </a:r>
            <a:endParaRPr lang="ru-RU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78142" marR="1367532" indent="-457200">
              <a:lnSpc>
                <a:spcPts val="2490"/>
              </a:lnSpc>
              <a:spcBef>
                <a:spcPts val="486"/>
              </a:spcBef>
              <a:buFont typeface="+mj-lt"/>
              <a:buAutoNum type="arabicPeriod"/>
            </a:pPr>
            <a:endParaRPr lang="ru-RU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78142" marR="1367532" indent="-457200">
              <a:lnSpc>
                <a:spcPts val="2490"/>
              </a:lnSpc>
              <a:spcBef>
                <a:spcPts val="486"/>
              </a:spcBef>
              <a:buFont typeface="+mj-lt"/>
              <a:buAutoNum type="arabicPeriod"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</a:rPr>
              <a:t>К</a:t>
            </a:r>
            <a:r>
              <a:rPr sz="2000" dirty="0" err="1">
                <a:latin typeface="Verdana" panose="020B0604030504040204" pitchFamily="34" charset="0"/>
                <a:ea typeface="Verdana" panose="020B0604030504040204" pitchFamily="34" charset="0"/>
              </a:rPr>
              <a:t>ак</a:t>
            </a:r>
            <a:r>
              <a:rPr sz="2000" dirty="0">
                <a:latin typeface="Verdana" panose="020B0604030504040204" pitchFamily="34" charset="0"/>
                <a:ea typeface="Verdana" panose="020B0604030504040204" pitchFamily="34" charset="0"/>
              </a:rPr>
              <a:t> разработать проект по повышению производительности  труда в кросс-функциональной команде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2" name="Заголовок 4"/>
          <p:cNvSpPr>
            <a:spLocks noGrp="1"/>
          </p:cNvSpPr>
          <p:nvPr>
            <p:ph type="title"/>
          </p:nvPr>
        </p:nvSpPr>
        <p:spPr>
          <a:xfrm>
            <a:off x="850762" y="295265"/>
            <a:ext cx="16592687" cy="677108"/>
          </a:xfrm>
        </p:spPr>
        <p:txBody>
          <a:bodyPr/>
          <a:lstStyle/>
          <a:p>
            <a:r>
              <a:rPr lang="ru-RU" sz="4400" b="1" kern="0" spc="-5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МАНДА РЦК МОСКОВСКОЙ ОБЛАСТИ</a:t>
            </a:r>
            <a:endParaRPr lang="ru-RU" sz="4400" dirty="0"/>
          </a:p>
        </p:txBody>
      </p:sp>
      <p:sp>
        <p:nvSpPr>
          <p:cNvPr id="1048673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18357850" y="10867002"/>
            <a:ext cx="840317" cy="616317"/>
          </a:xfrm>
        </p:spPr>
        <p:txBody>
          <a:bodyPr/>
          <a:lstStyle/>
          <a:p>
            <a:fld id="{7E1A2DEA-0812-41F9-88C5-48F7F643210D}" type="slidenum">
              <a:rPr lang="ru-RU" smtClean="0"/>
              <a:t>9</a:t>
            </a:fld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55A3B7-C566-E34B-ABD7-CDF1073274DE}"/>
              </a:ext>
            </a:extLst>
          </p:cNvPr>
          <p:cNvSpPr txBox="1"/>
          <p:nvPr/>
        </p:nvSpPr>
        <p:spPr>
          <a:xfrm>
            <a:off x="1969201" y="3944256"/>
            <a:ext cx="25548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Юлия </a:t>
            </a:r>
            <a:r>
              <a:rPr lang="ru-RU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митриева</a:t>
            </a:r>
            <a:endParaRPr lang="ru-RU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0E0DE0-9ADD-7343-8045-F59AA51EB882}"/>
              </a:ext>
            </a:extLst>
          </p:cNvPr>
          <p:cNvSpPr txBox="1"/>
          <p:nvPr/>
        </p:nvSpPr>
        <p:spPr>
          <a:xfrm>
            <a:off x="6389427" y="4021694"/>
            <a:ext cx="274462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леся Александров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E2997A2-FF4A-E24D-9AD6-04E9CAF703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2365" t="-937" r="2365" b="25937"/>
          <a:stretch/>
        </p:blipFill>
        <p:spPr>
          <a:xfrm>
            <a:off x="1970310" y="1292225"/>
            <a:ext cx="2663031" cy="2663031"/>
          </a:xfrm>
          <a:prstGeom prst="ellipse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2253400-8EA5-CA4E-A2B0-1945F4966E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4" t="3794" r="-834" b="12767"/>
          <a:stretch/>
        </p:blipFill>
        <p:spPr>
          <a:xfrm flipH="1">
            <a:off x="6233282" y="1292225"/>
            <a:ext cx="2744624" cy="2663031"/>
          </a:xfrm>
          <a:prstGeom prst="ellipse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AF815D9-11FA-8D4C-B73D-FBB64559C897}"/>
              </a:ext>
            </a:extLst>
          </p:cNvPr>
          <p:cNvSpPr txBox="1"/>
          <p:nvPr/>
        </p:nvSpPr>
        <p:spPr>
          <a:xfrm>
            <a:off x="10497095" y="4143489"/>
            <a:ext cx="24310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вгений Шумаков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1705329-DDE0-5B48-B4DE-2962C1A208F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351" t="2179" r="9129" b="47241"/>
          <a:stretch/>
        </p:blipFill>
        <p:spPr>
          <a:xfrm flipH="1">
            <a:off x="10340288" y="1358661"/>
            <a:ext cx="2744624" cy="2773751"/>
          </a:xfrm>
          <a:prstGeom prst="ellipse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4650823-ED83-7242-9022-D4F8C114656D}"/>
              </a:ext>
            </a:extLst>
          </p:cNvPr>
          <p:cNvSpPr txBox="1"/>
          <p:nvPr/>
        </p:nvSpPr>
        <p:spPr>
          <a:xfrm>
            <a:off x="1462252" y="4282810"/>
            <a:ext cx="356871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енер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екты: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Архимед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ТД Кудо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Руста» 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КХЗ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Зеленоградское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ДМК»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2B108B9-C39D-574A-8D7A-DF7E38B14E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1" t="5566" r="15878" b="43678"/>
          <a:stretch/>
        </p:blipFill>
        <p:spPr bwMode="auto">
          <a:xfrm>
            <a:off x="14528637" y="1358661"/>
            <a:ext cx="2795906" cy="2795906"/>
          </a:xfrm>
          <a:prstGeom prst="ellipse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C9887D9-A1CD-DB4E-A9B1-E8CCB6135B1B}"/>
              </a:ext>
            </a:extLst>
          </p:cNvPr>
          <p:cNvSpPr txBox="1"/>
          <p:nvPr/>
        </p:nvSpPr>
        <p:spPr>
          <a:xfrm>
            <a:off x="14772284" y="4191666"/>
            <a:ext cx="24310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нис Медведев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F1E7CB-D51E-C64B-8F87-F19DB156F29B}"/>
              </a:ext>
            </a:extLst>
          </p:cNvPr>
          <p:cNvSpPr txBox="1"/>
          <p:nvPr/>
        </p:nvSpPr>
        <p:spPr>
          <a:xfrm>
            <a:off x="6040430" y="4306823"/>
            <a:ext cx="349765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енер 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екты: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Архимед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ТД Кудо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Руста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КХЗ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Зеленоградское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ДМК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57D3A5-08F2-4D41-9B9F-E164929FF513}"/>
              </a:ext>
            </a:extLst>
          </p:cNvPr>
          <p:cNvSpPr txBox="1"/>
          <p:nvPr/>
        </p:nvSpPr>
        <p:spPr>
          <a:xfrm>
            <a:off x="10311645" y="4475049"/>
            <a:ext cx="30170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енер, РП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екты: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Архимед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Щёлковский </a:t>
            </a:r>
            <a:r>
              <a:rPr lang="ru-RU" sz="1600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иокомбинат</a:t>
            </a: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</a:t>
            </a:r>
            <a:r>
              <a:rPr lang="ru-RU" sz="1600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аметекс</a:t>
            </a: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4ADE4A-267B-EE4F-9B7B-7839FB868699}"/>
              </a:ext>
            </a:extLst>
          </p:cNvPr>
          <p:cNvSpPr txBox="1"/>
          <p:nvPr/>
        </p:nvSpPr>
        <p:spPr>
          <a:xfrm>
            <a:off x="14528634" y="4518455"/>
            <a:ext cx="312671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енер, РП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екты: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Калита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хпромимпекс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МДМ Лайт»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2EBADF0-8937-C442-8475-4FEB3A54C48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127" t="7343" r="16285" b="8513"/>
          <a:stretch/>
        </p:blipFill>
        <p:spPr>
          <a:xfrm>
            <a:off x="1920202" y="6830989"/>
            <a:ext cx="2707759" cy="2663031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0170108-A83D-0F4E-A3BF-079A7DC19A7B}"/>
              </a:ext>
            </a:extLst>
          </p:cNvPr>
          <p:cNvSpPr txBox="1"/>
          <p:nvPr/>
        </p:nvSpPr>
        <p:spPr>
          <a:xfrm>
            <a:off x="1997069" y="9494020"/>
            <a:ext cx="24323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ртур </a:t>
            </a:r>
            <a:r>
              <a:rPr lang="ru-RU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авидян</a:t>
            </a:r>
            <a:endParaRPr lang="ru-RU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E22857D-38C1-0D43-8CFD-A5A7777812C9}"/>
              </a:ext>
            </a:extLst>
          </p:cNvPr>
          <p:cNvSpPr txBox="1"/>
          <p:nvPr/>
        </p:nvSpPr>
        <p:spPr>
          <a:xfrm>
            <a:off x="1610259" y="9801070"/>
            <a:ext cx="3700713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уководитель проектов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екты: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Зелёный берег-</a:t>
            </a:r>
            <a:r>
              <a:rPr lang="en-GB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XI </a:t>
            </a: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ек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</a:t>
            </a:r>
            <a:r>
              <a:rPr lang="ru-RU" sz="1600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лМа</a:t>
            </a: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EBF926D-76EE-8245-9A1A-F506C6944C0B}"/>
              </a:ext>
            </a:extLst>
          </p:cNvPr>
          <p:cNvSpPr txBox="1"/>
          <p:nvPr/>
        </p:nvSpPr>
        <p:spPr>
          <a:xfrm>
            <a:off x="6247739" y="9494020"/>
            <a:ext cx="2664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лександр Храпов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6BB8EB0-34D3-CA4C-9D58-586D04FB1B6E}"/>
              </a:ext>
            </a:extLst>
          </p:cNvPr>
          <p:cNvSpPr txBox="1"/>
          <p:nvPr/>
        </p:nvSpPr>
        <p:spPr>
          <a:xfrm>
            <a:off x="6040429" y="9816509"/>
            <a:ext cx="34028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уководитель проектов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екты: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Метал-завод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ЭСПКБ</a:t>
            </a:r>
            <a:r>
              <a:rPr lang="en-GB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“</a:t>
            </a: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хно»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0DFE929-FFF3-094B-B91A-9AA550221A37}"/>
              </a:ext>
            </a:extLst>
          </p:cNvPr>
          <p:cNvSpPr txBox="1"/>
          <p:nvPr/>
        </p:nvSpPr>
        <p:spPr>
          <a:xfrm>
            <a:off x="10285399" y="9494020"/>
            <a:ext cx="27783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лексей Садовников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68AE0B-E1AE-D54D-9834-54BE3A497BA0}"/>
              </a:ext>
            </a:extLst>
          </p:cNvPr>
          <p:cNvSpPr txBox="1"/>
          <p:nvPr/>
        </p:nvSpPr>
        <p:spPr>
          <a:xfrm>
            <a:off x="10187854" y="9816509"/>
            <a:ext cx="382738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уководитель проектов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екты: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ФНПЦ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ИИ ПХ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”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ытпласт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вропродукт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КХЗ»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94C8D056-CC9C-1642-8B7A-444C78A5A22F}"/>
              </a:ext>
            </a:extLst>
          </p:cNvPr>
          <p:cNvPicPr/>
          <p:nvPr/>
        </p:nvPicPr>
        <p:blipFill rotWithShape="1">
          <a:blip r:embed="rId7"/>
          <a:srcRect l="7935" t="5576" r="8066" b="14591"/>
          <a:stretch/>
        </p:blipFill>
        <p:spPr>
          <a:xfrm>
            <a:off x="6294881" y="6830989"/>
            <a:ext cx="2617812" cy="2663031"/>
          </a:xfrm>
          <a:prstGeom prst="ellipse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200BABB-BBD4-C940-BF54-DB5DAC08CD2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341" t="2776" r="12454" b="47789"/>
          <a:stretch/>
        </p:blipFill>
        <p:spPr>
          <a:xfrm>
            <a:off x="10365282" y="6759254"/>
            <a:ext cx="2734530" cy="2779675"/>
          </a:xfrm>
          <a:prstGeom prst="ellipse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D094E2E-E61D-3941-8233-1DEBAEC3DFDC}"/>
              </a:ext>
            </a:extLst>
          </p:cNvPr>
          <p:cNvSpPr txBox="1"/>
          <p:nvPr/>
        </p:nvSpPr>
        <p:spPr>
          <a:xfrm>
            <a:off x="14653749" y="9524427"/>
            <a:ext cx="255930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лексей Лопатин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29BE4D75-A2B9-AD46-9FD2-A54C7B44BF9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-1342" t="5921" r="1342" b="19039"/>
          <a:stretch/>
        </p:blipFill>
        <p:spPr>
          <a:xfrm>
            <a:off x="14572783" y="6772668"/>
            <a:ext cx="2751760" cy="2751760"/>
          </a:xfrm>
          <a:prstGeom prst="ellipse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6E46417-4C58-8F4E-85CF-DC893211BAD9}"/>
              </a:ext>
            </a:extLst>
          </p:cNvPr>
          <p:cNvSpPr txBox="1"/>
          <p:nvPr/>
        </p:nvSpPr>
        <p:spPr>
          <a:xfrm>
            <a:off x="14472420" y="9805898"/>
            <a:ext cx="312671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енер, РП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екты: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лбесМет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ТД Кудо»</a:t>
            </a:r>
          </a:p>
          <a:p>
            <a:pPr marL="471202" indent="-471202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Руста»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TYpdF7EiqihV0BB2c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v7ihXeEmPYuVkvZXZ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Фиолетовый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Другая 9">
      <a:majorFont>
        <a:latin typeface="VTB Group Demi Bold"/>
        <a:ea typeface=""/>
        <a:cs typeface=""/>
      </a:majorFont>
      <a:minorFont>
        <a:latin typeface="VTB Group Book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bg1">
              <a:lumMod val="50000"/>
            </a:schemeClr>
          </a:solidFill>
        </a:ln>
        <a:effectLst>
          <a:outerShdw blurRad="114300" dist="63500" dir="2700000" algn="ctr" rotWithShape="0">
            <a:srgbClr val="000000">
              <a:alpha val="8000"/>
            </a:srgbClr>
          </a:outerShdw>
        </a:effectLst>
      </a:spPr>
      <a:bodyPr rtlCol="0" anchor="ctr"/>
      <a:lstStyle>
        <a:defPPr algn="ctr"/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3_Тема Office">
  <a:themeElements>
    <a:clrScheme name="Фиолетовый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Другая 9">
      <a:majorFont>
        <a:latin typeface="VTB Group Demi Bold"/>
        <a:ea typeface=""/>
        <a:cs typeface=""/>
      </a:majorFont>
      <a:minorFont>
        <a:latin typeface="VTB Group Book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bg1">
              <a:lumMod val="50000"/>
            </a:schemeClr>
          </a:solidFill>
        </a:ln>
        <a:effectLst>
          <a:outerShdw blurRad="114300" dist="63500" dir="2700000" algn="ctr" rotWithShape="0">
            <a:srgbClr val="000000">
              <a:alpha val="8000"/>
            </a:srgbClr>
          </a:outerShdw>
        </a:effectLst>
      </a:spPr>
      <a:bodyPr rtlCol="0" anchor="ctr"/>
      <a:lstStyle>
        <a:defPPr algn="ctr"/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</TotalTime>
  <Words>1268</Words>
  <Application>Microsoft Office PowerPoint</Application>
  <PresentationFormat>Произвольный</PresentationFormat>
  <Paragraphs>336</Paragraphs>
  <Slides>16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6</vt:i4>
      </vt:variant>
    </vt:vector>
  </HeadingPairs>
  <TitlesOfParts>
    <vt:vector size="26" baseType="lpstr">
      <vt:lpstr>Arial</vt:lpstr>
      <vt:lpstr>Calibri</vt:lpstr>
      <vt:lpstr>Calibri Light</vt:lpstr>
      <vt:lpstr>Verdana</vt:lpstr>
      <vt:lpstr>VTB Group Book</vt:lpstr>
      <vt:lpstr>VTB Group Demi Bold</vt:lpstr>
      <vt:lpstr>Wingdings</vt:lpstr>
      <vt:lpstr>Office Theme</vt:lpstr>
      <vt:lpstr>2_Тема Office</vt:lpstr>
      <vt:lpstr>3_Тема Office</vt:lpstr>
      <vt:lpstr>РЕАЛИЗАЦИЯ  НАЦИОНАЛЬНОГО ПРОЕКТА «ПРОИЗВОДИТЕЛЬНОСТЬ ТРУДА»   В МОСКОВСКОЙ ОБЛАСТИ</vt:lpstr>
      <vt:lpstr>НАЦИОНАЛЬНЫЙ ПРОЕКТ  «ПРОИЗВОДИТЕЛЬНОСТЬ ТРУДА»</vt:lpstr>
      <vt:lpstr>КАК СТАТЬ УЧАСТНИКОМ</vt:lpstr>
      <vt:lpstr>ОСНОВНЫЕ ЭТАПЫ РЕАЛИЗАЦИИ</vt:lpstr>
      <vt:lpstr>КРИТЕРИИ УСПЕХА</vt:lpstr>
      <vt:lpstr>МЕРЫ ПОДДЕРЖКИ ДЛЯ УЧАСТНИКОВ</vt:lpstr>
      <vt:lpstr>МЕРЫ ПОДДЕРЖКИ - ПРОГРАММА ЛЬГОТНЫХ ЗАЙМОВ ФРП «ПОВЫШЕНИЕ ПРОИЗВОДИТЕЛЬНОСТИ ТРУДА»</vt:lpstr>
      <vt:lpstr>МЕРЫ ПОДДЕРЖКИ - ПРОГРАММА ОБУЧЕНИЯ «ЛИДЕРЫ ПРОИЗВОДИТЕЛЬНОСТИ»</vt:lpstr>
      <vt:lpstr>КОМАНДА РЦК МОСКОВСКОЙ ОБЛАСТИ</vt:lpstr>
      <vt:lpstr>РЕЗУЛЬТАТЫ РЕАЛИЗАЦИИ НАЦ. ПРОЕКТА В МОСКОВСКОЙ ОБЛАСТИ</vt:lpstr>
      <vt:lpstr>ПРОИЗВОДИТЕЛЬНОСТЬ ТРУДА И ИМПОРТОЗАМЕЩЕНИЕ</vt:lpstr>
      <vt:lpstr>РЕЙТИНГ МУНИЦИПАЛИТЕТОВ</vt:lpstr>
      <vt:lpstr>ПРЕДЛОЖЕНИЯ</vt:lpstr>
      <vt:lpstr>ПРИМЕРЫ РЕАЛИЗОВАННЫХ ПРОЕКТОВ</vt:lpstr>
      <vt:lpstr>ООО «ДЕСЯТОЕ КОРОЛЕВСТВО» (Шаховская)</vt:lpstr>
      <vt:lpstr>ООО «АРХИМЕД» (пос. Биокомбината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витие инвестиционной деятельности  в Московской области 2022-2024</dc:title>
  <dc:creator>Зиновьева Екатерина Анатольевна</dc:creator>
  <cp:lastModifiedBy>Зиновьева Екатерина Анатольевна</cp:lastModifiedBy>
  <cp:revision>25</cp:revision>
  <dcterms:created xsi:type="dcterms:W3CDTF">2022-05-29T09:41:51Z</dcterms:created>
  <dcterms:modified xsi:type="dcterms:W3CDTF">2022-06-06T08:2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11-19T00:00:00Z</vt:filetime>
  </property>
  <property fmtid="{D5CDD505-2E9C-101B-9397-08002B2CF9AE}" pid="3" name="Creator">
    <vt:lpwstr>Microsoft® PowerPoint® 2019</vt:lpwstr>
  </property>
  <property fmtid="{D5CDD505-2E9C-101B-9397-08002B2CF9AE}" pid="4" name="LastSaved">
    <vt:filetime>2022-05-29T00:00:00Z</vt:filetime>
  </property>
  <property fmtid="{D5CDD505-2E9C-101B-9397-08002B2CF9AE}" pid="5" name="ICV">
    <vt:lpwstr>50fa30234d1f456da2426c5b3a6c3da7</vt:lpwstr>
  </property>
</Properties>
</file>